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259" r:id="rId3"/>
    <p:sldId id="267" r:id="rId4"/>
    <p:sldId id="498" r:id="rId5"/>
    <p:sldId id="502" r:id="rId6"/>
    <p:sldId id="511" r:id="rId7"/>
    <p:sldId id="514" r:id="rId8"/>
    <p:sldId id="2076136775" r:id="rId9"/>
    <p:sldId id="2076136776" r:id="rId10"/>
    <p:sldId id="515" r:id="rId11"/>
    <p:sldId id="2076136774" r:id="rId12"/>
    <p:sldId id="500" r:id="rId13"/>
    <p:sldId id="263" r:id="rId14"/>
    <p:sldId id="2076136777" r:id="rId15"/>
    <p:sldId id="2076136778" r:id="rId16"/>
    <p:sldId id="2076136779" r:id="rId17"/>
    <p:sldId id="501" r:id="rId18"/>
    <p:sldId id="2076136780" r:id="rId19"/>
    <p:sldId id="293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8005"/>
    <a:srgbClr val="FFFFFF"/>
    <a:srgbClr val="FFCCCC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67" autoAdjust="0"/>
    <p:restoredTop sz="84841" autoAdjust="0"/>
  </p:normalViewPr>
  <p:slideViewPr>
    <p:cSldViewPr snapToGrid="0">
      <p:cViewPr varScale="1">
        <p:scale>
          <a:sx n="94" d="100"/>
          <a:sy n="94" d="100"/>
        </p:scale>
        <p:origin x="113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uis-Guillaume Morand" userId="40ad395802f30fee" providerId="LiveId" clId="{FAD786C8-6F7E-43FC-B825-BB9FDAB99835}"/>
    <pc:docChg chg="undo custSel mod addSld delSld modSld sldOrd modMainMaster">
      <pc:chgData name="Louis-Guillaume Morand" userId="40ad395802f30fee" providerId="LiveId" clId="{FAD786C8-6F7E-43FC-B825-BB9FDAB99835}" dt="2019-11-29T17:48:31.890" v="3399" actId="1076"/>
      <pc:docMkLst>
        <pc:docMk/>
      </pc:docMkLst>
      <pc:sldChg chg="addSp delSp modSp modNotesTx">
        <pc:chgData name="Louis-Guillaume Morand" userId="40ad395802f30fee" providerId="LiveId" clId="{FAD786C8-6F7E-43FC-B825-BB9FDAB99835}" dt="2019-11-29T17:47:30.396" v="3394" actId="20577"/>
        <pc:sldMkLst>
          <pc:docMk/>
          <pc:sldMk cId="880757708" sldId="256"/>
        </pc:sldMkLst>
        <pc:spChg chg="add mod">
          <ac:chgData name="Louis-Guillaume Morand" userId="40ad395802f30fee" providerId="LiveId" clId="{FAD786C8-6F7E-43FC-B825-BB9FDAB99835}" dt="2019-11-29T17:46:08.560" v="3341" actId="122"/>
          <ac:spMkLst>
            <pc:docMk/>
            <pc:sldMk cId="880757708" sldId="256"/>
            <ac:spMk id="2" creationId="{2CE6C700-7D75-456E-91E9-880D5593ECBC}"/>
          </ac:spMkLst>
        </pc:spChg>
        <pc:spChg chg="del">
          <ac:chgData name="Louis-Guillaume Morand" userId="40ad395802f30fee" providerId="LiveId" clId="{FAD786C8-6F7E-43FC-B825-BB9FDAB99835}" dt="2019-11-18T15:17:49.457" v="1" actId="478"/>
          <ac:spMkLst>
            <pc:docMk/>
            <pc:sldMk cId="880757708" sldId="256"/>
            <ac:spMk id="2" creationId="{D6BE6790-8391-4C5B-9FD3-05E96A14D307}"/>
          </ac:spMkLst>
        </pc:spChg>
        <pc:spChg chg="mod">
          <ac:chgData name="Louis-Guillaume Morand" userId="40ad395802f30fee" providerId="LiveId" clId="{FAD786C8-6F7E-43FC-B825-BB9FDAB99835}" dt="2019-11-18T15:20:58.119" v="15" actId="14100"/>
          <ac:spMkLst>
            <pc:docMk/>
            <pc:sldMk cId="880757708" sldId="256"/>
            <ac:spMk id="25" creationId="{E15247C0-483A-44EC-87AF-490676F4CB86}"/>
          </ac:spMkLst>
        </pc:spChg>
        <pc:spChg chg="mod">
          <ac:chgData name="Louis-Guillaume Morand" userId="40ad395802f30fee" providerId="LiveId" clId="{FAD786C8-6F7E-43FC-B825-BB9FDAB99835}" dt="2019-11-18T15:22:34.318" v="32" actId="20577"/>
          <ac:spMkLst>
            <pc:docMk/>
            <pc:sldMk cId="880757708" sldId="256"/>
            <ac:spMk id="26" creationId="{146F4DE1-4652-42DD-A3B5-29E4161F17FA}"/>
          </ac:spMkLst>
        </pc:spChg>
        <pc:spChg chg="mod">
          <ac:chgData name="Louis-Guillaume Morand" userId="40ad395802f30fee" providerId="LiveId" clId="{FAD786C8-6F7E-43FC-B825-BB9FDAB99835}" dt="2019-11-18T15:22:45.347" v="61" actId="6549"/>
          <ac:spMkLst>
            <pc:docMk/>
            <pc:sldMk cId="880757708" sldId="256"/>
            <ac:spMk id="27" creationId="{6F184B55-D5C7-4EC2-97BC-F7DB58C33F81}"/>
          </ac:spMkLst>
        </pc:spChg>
      </pc:sldChg>
      <pc:sldChg chg="del">
        <pc:chgData name="Louis-Guillaume Morand" userId="40ad395802f30fee" providerId="LiveId" clId="{FAD786C8-6F7E-43FC-B825-BB9FDAB99835}" dt="2019-11-18T15:28:51.986" v="68" actId="2696"/>
        <pc:sldMkLst>
          <pc:docMk/>
          <pc:sldMk cId="4091641408" sldId="257"/>
        </pc:sldMkLst>
      </pc:sldChg>
      <pc:sldChg chg="del">
        <pc:chgData name="Louis-Guillaume Morand" userId="40ad395802f30fee" providerId="LiveId" clId="{FAD786C8-6F7E-43FC-B825-BB9FDAB99835}" dt="2019-11-18T16:40:35.362" v="317" actId="2696"/>
        <pc:sldMkLst>
          <pc:docMk/>
          <pc:sldMk cId="2442722974" sldId="258"/>
        </pc:sldMkLst>
      </pc:sldChg>
      <pc:sldChg chg="delSp modSp ord">
        <pc:chgData name="Louis-Guillaume Morand" userId="40ad395802f30fee" providerId="LiveId" clId="{FAD786C8-6F7E-43FC-B825-BB9FDAB99835}" dt="2019-11-19T11:05:07.295" v="1997" actId="20577"/>
        <pc:sldMkLst>
          <pc:docMk/>
          <pc:sldMk cId="1521493797" sldId="259"/>
        </pc:sldMkLst>
        <pc:spChg chg="mod">
          <ac:chgData name="Louis-Guillaume Morand" userId="40ad395802f30fee" providerId="LiveId" clId="{FAD786C8-6F7E-43FC-B825-BB9FDAB99835}" dt="2019-11-19T11:04:42.913" v="1950" actId="20577"/>
          <ac:spMkLst>
            <pc:docMk/>
            <pc:sldMk cId="1521493797" sldId="259"/>
            <ac:spMk id="4" creationId="{960D6048-6B19-4DDE-9FCE-00C26B463B2B}"/>
          </ac:spMkLst>
        </pc:spChg>
        <pc:spChg chg="del">
          <ac:chgData name="Louis-Guillaume Morand" userId="40ad395802f30fee" providerId="LiveId" clId="{FAD786C8-6F7E-43FC-B825-BB9FDAB99835}" dt="2019-11-19T11:04:59.285" v="1988" actId="478"/>
          <ac:spMkLst>
            <pc:docMk/>
            <pc:sldMk cId="1521493797" sldId="259"/>
            <ac:spMk id="5" creationId="{51E7E256-906B-4793-94E3-DFB0198B15DE}"/>
          </ac:spMkLst>
        </pc:spChg>
        <pc:spChg chg="mod">
          <ac:chgData name="Louis-Guillaume Morand" userId="40ad395802f30fee" providerId="LiveId" clId="{FAD786C8-6F7E-43FC-B825-BB9FDAB99835}" dt="2019-11-19T11:04:48.919" v="1973" actId="20577"/>
          <ac:spMkLst>
            <pc:docMk/>
            <pc:sldMk cId="1521493797" sldId="259"/>
            <ac:spMk id="9" creationId="{05C74234-CA63-446B-A74E-D543673802FE}"/>
          </ac:spMkLst>
        </pc:spChg>
        <pc:spChg chg="mod">
          <ac:chgData name="Louis-Guillaume Morand" userId="40ad395802f30fee" providerId="LiveId" clId="{FAD786C8-6F7E-43FC-B825-BB9FDAB99835}" dt="2019-11-19T11:04:53.916" v="1987" actId="20577"/>
          <ac:spMkLst>
            <pc:docMk/>
            <pc:sldMk cId="1521493797" sldId="259"/>
            <ac:spMk id="14" creationId="{C1CF934E-BF99-4729-8DD2-9425EBA1E990}"/>
          </ac:spMkLst>
        </pc:spChg>
        <pc:spChg chg="mod">
          <ac:chgData name="Louis-Guillaume Morand" userId="40ad395802f30fee" providerId="LiveId" clId="{FAD786C8-6F7E-43FC-B825-BB9FDAB99835}" dt="2019-11-19T09:42:38.926" v="1372" actId="20577"/>
          <ac:spMkLst>
            <pc:docMk/>
            <pc:sldMk cId="1521493797" sldId="259"/>
            <ac:spMk id="19" creationId="{13EE8112-B713-434B-92E1-C965C7719356}"/>
          </ac:spMkLst>
        </pc:spChg>
        <pc:spChg chg="mod">
          <ac:chgData name="Louis-Guillaume Morand" userId="40ad395802f30fee" providerId="LiveId" clId="{FAD786C8-6F7E-43FC-B825-BB9FDAB99835}" dt="2019-11-19T11:05:07.295" v="1997" actId="20577"/>
          <ac:spMkLst>
            <pc:docMk/>
            <pc:sldMk cId="1521493797" sldId="259"/>
            <ac:spMk id="27" creationId="{1303334E-2132-411C-A4BD-70CC4E1BC265}"/>
          </ac:spMkLst>
        </pc:spChg>
        <pc:spChg chg="del">
          <ac:chgData name="Louis-Guillaume Morand" userId="40ad395802f30fee" providerId="LiveId" clId="{FAD786C8-6F7E-43FC-B825-BB9FDAB99835}" dt="2019-11-19T11:05:01.102" v="1989" actId="478"/>
          <ac:spMkLst>
            <pc:docMk/>
            <pc:sldMk cId="1521493797" sldId="259"/>
            <ac:spMk id="29" creationId="{B594EFE0-649A-4711-A92A-D1AC4796159E}"/>
          </ac:spMkLst>
        </pc:spChg>
        <pc:spChg chg="del">
          <ac:chgData name="Louis-Guillaume Morand" userId="40ad395802f30fee" providerId="LiveId" clId="{FAD786C8-6F7E-43FC-B825-BB9FDAB99835}" dt="2019-11-19T11:05:02.215" v="1990" actId="478"/>
          <ac:spMkLst>
            <pc:docMk/>
            <pc:sldMk cId="1521493797" sldId="259"/>
            <ac:spMk id="30" creationId="{4025D9BA-38F7-42AA-A4B6-80D00385AAA8}"/>
          </ac:spMkLst>
        </pc:spChg>
        <pc:spChg chg="del">
          <ac:chgData name="Louis-Guillaume Morand" userId="40ad395802f30fee" providerId="LiveId" clId="{FAD786C8-6F7E-43FC-B825-BB9FDAB99835}" dt="2019-11-19T11:05:03.408" v="1991" actId="478"/>
          <ac:spMkLst>
            <pc:docMk/>
            <pc:sldMk cId="1521493797" sldId="259"/>
            <ac:spMk id="31" creationId="{F6C413C5-256A-4D38-BD4E-290A9FECDD4E}"/>
          </ac:spMkLst>
        </pc:spChg>
      </pc:sldChg>
      <pc:sldChg chg="del">
        <pc:chgData name="Louis-Guillaume Morand" userId="40ad395802f30fee" providerId="LiveId" clId="{FAD786C8-6F7E-43FC-B825-BB9FDAB99835}" dt="2019-11-19T09:44:16.358" v="1376" actId="2696"/>
        <pc:sldMkLst>
          <pc:docMk/>
          <pc:sldMk cId="2685212343" sldId="260"/>
        </pc:sldMkLst>
      </pc:sldChg>
      <pc:sldChg chg="del">
        <pc:chgData name="Louis-Guillaume Morand" userId="40ad395802f30fee" providerId="LiveId" clId="{FAD786C8-6F7E-43FC-B825-BB9FDAB99835}" dt="2019-11-20T11:21:07.341" v="2528" actId="2696"/>
        <pc:sldMkLst>
          <pc:docMk/>
          <pc:sldMk cId="2584468806" sldId="261"/>
        </pc:sldMkLst>
      </pc:sldChg>
      <pc:sldChg chg="del">
        <pc:chgData name="Louis-Guillaume Morand" userId="40ad395802f30fee" providerId="LiveId" clId="{FAD786C8-6F7E-43FC-B825-BB9FDAB99835}" dt="2019-11-20T11:21:08.064" v="2529" actId="2696"/>
        <pc:sldMkLst>
          <pc:docMk/>
          <pc:sldMk cId="3052047147" sldId="262"/>
        </pc:sldMkLst>
      </pc:sldChg>
      <pc:sldChg chg="addSp delSp modSp ord modAnim">
        <pc:chgData name="Louis-Guillaume Morand" userId="40ad395802f30fee" providerId="LiveId" clId="{FAD786C8-6F7E-43FC-B825-BB9FDAB99835}" dt="2019-11-18T16:46:38.889" v="374"/>
        <pc:sldMkLst>
          <pc:docMk/>
          <pc:sldMk cId="144282937" sldId="263"/>
        </pc:sldMkLst>
        <pc:spChg chg="mod">
          <ac:chgData name="Louis-Guillaume Morand" userId="40ad395802f30fee" providerId="LiveId" clId="{FAD786C8-6F7E-43FC-B825-BB9FDAB99835}" dt="2019-11-18T16:42:28.686" v="349" actId="1076"/>
          <ac:spMkLst>
            <pc:docMk/>
            <pc:sldMk cId="144282937" sldId="263"/>
            <ac:spMk id="3" creationId="{ECEAA242-EFBC-4D2A-8680-79BB58B3EA3E}"/>
          </ac:spMkLst>
        </pc:spChg>
        <pc:spChg chg="mod">
          <ac:chgData name="Louis-Guillaume Morand" userId="40ad395802f30fee" providerId="LiveId" clId="{FAD786C8-6F7E-43FC-B825-BB9FDAB99835}" dt="2019-11-18T16:41:58.221" v="341" actId="1076"/>
          <ac:spMkLst>
            <pc:docMk/>
            <pc:sldMk cId="144282937" sldId="263"/>
            <ac:spMk id="4" creationId="{657958AF-32A5-4B79-A406-D4CCA66FC2A4}"/>
          </ac:spMkLst>
        </pc:spChg>
        <pc:spChg chg="del">
          <ac:chgData name="Louis-Guillaume Morand" userId="40ad395802f30fee" providerId="LiveId" clId="{FAD786C8-6F7E-43FC-B825-BB9FDAB99835}" dt="2019-11-18T16:41:33.561" v="337" actId="478"/>
          <ac:spMkLst>
            <pc:docMk/>
            <pc:sldMk cId="144282937" sldId="263"/>
            <ac:spMk id="5" creationId="{8ED261BC-167B-4284-B721-67DC4D2112AE}"/>
          </ac:spMkLst>
        </pc:spChg>
        <pc:spChg chg="mod">
          <ac:chgData name="Louis-Guillaume Morand" userId="40ad395802f30fee" providerId="LiveId" clId="{FAD786C8-6F7E-43FC-B825-BB9FDAB99835}" dt="2019-11-18T16:42:14.309" v="344" actId="1076"/>
          <ac:spMkLst>
            <pc:docMk/>
            <pc:sldMk cId="144282937" sldId="263"/>
            <ac:spMk id="6" creationId="{EFB550A7-EE75-43BB-9673-DA7800B87E54}"/>
          </ac:spMkLst>
        </pc:spChg>
        <pc:spChg chg="mod">
          <ac:chgData name="Louis-Guillaume Morand" userId="40ad395802f30fee" providerId="LiveId" clId="{FAD786C8-6F7E-43FC-B825-BB9FDAB99835}" dt="2019-11-18T16:42:26.678" v="347" actId="1076"/>
          <ac:spMkLst>
            <pc:docMk/>
            <pc:sldMk cId="144282937" sldId="263"/>
            <ac:spMk id="7" creationId="{8B17AAC3-8A99-475E-AD61-0B10C3631165}"/>
          </ac:spMkLst>
        </pc:spChg>
        <pc:spChg chg="del">
          <ac:chgData name="Louis-Guillaume Morand" userId="40ad395802f30fee" providerId="LiveId" clId="{FAD786C8-6F7E-43FC-B825-BB9FDAB99835}" dt="2019-11-18T16:45:51.152" v="373" actId="478"/>
          <ac:spMkLst>
            <pc:docMk/>
            <pc:sldMk cId="144282937" sldId="263"/>
            <ac:spMk id="11" creationId="{78B004DC-E194-4943-BF19-5187CE4926EB}"/>
          </ac:spMkLst>
        </pc:spChg>
        <pc:spChg chg="add mod">
          <ac:chgData name="Louis-Guillaume Morand" userId="40ad395802f30fee" providerId="LiveId" clId="{FAD786C8-6F7E-43FC-B825-BB9FDAB99835}" dt="2019-11-18T16:43:21.250" v="361" actId="5793"/>
          <ac:spMkLst>
            <pc:docMk/>
            <pc:sldMk cId="144282937" sldId="263"/>
            <ac:spMk id="12" creationId="{DBA62739-A399-4A54-B5DD-0B44CED1087B}"/>
          </ac:spMkLst>
        </pc:spChg>
        <pc:spChg chg="add mod">
          <ac:chgData name="Louis-Guillaume Morand" userId="40ad395802f30fee" providerId="LiveId" clId="{FAD786C8-6F7E-43FC-B825-BB9FDAB99835}" dt="2019-11-18T16:42:38.438" v="351" actId="1076"/>
          <ac:spMkLst>
            <pc:docMk/>
            <pc:sldMk cId="144282937" sldId="263"/>
            <ac:spMk id="13" creationId="{7A39B35B-E00C-4B9F-8984-4E5EF75B0FDF}"/>
          </ac:spMkLst>
        </pc:spChg>
        <pc:spChg chg="add mod">
          <ac:chgData name="Louis-Guillaume Morand" userId="40ad395802f30fee" providerId="LiveId" clId="{FAD786C8-6F7E-43FC-B825-BB9FDAB99835}" dt="2019-11-18T16:43:13.327" v="359" actId="5793"/>
          <ac:spMkLst>
            <pc:docMk/>
            <pc:sldMk cId="144282937" sldId="263"/>
            <ac:spMk id="14" creationId="{221EF84A-CE8F-4A54-A4D0-F13496C37CBF}"/>
          </ac:spMkLst>
        </pc:spChg>
        <pc:spChg chg="add mod">
          <ac:chgData name="Louis-Guillaume Morand" userId="40ad395802f30fee" providerId="LiveId" clId="{FAD786C8-6F7E-43FC-B825-BB9FDAB99835}" dt="2019-11-18T16:42:47.797" v="353" actId="1076"/>
          <ac:spMkLst>
            <pc:docMk/>
            <pc:sldMk cId="144282937" sldId="263"/>
            <ac:spMk id="15" creationId="{2762E981-DB8C-487B-B1E0-7E2C79A4D112}"/>
          </ac:spMkLst>
        </pc:spChg>
        <pc:spChg chg="add mod">
          <ac:chgData name="Louis-Guillaume Morand" userId="40ad395802f30fee" providerId="LiveId" clId="{FAD786C8-6F7E-43FC-B825-BB9FDAB99835}" dt="2019-11-18T16:43:05.621" v="357" actId="5793"/>
          <ac:spMkLst>
            <pc:docMk/>
            <pc:sldMk cId="144282937" sldId="263"/>
            <ac:spMk id="16" creationId="{3232BB60-4127-4842-88C6-63065761D435}"/>
          </ac:spMkLst>
        </pc:spChg>
        <pc:spChg chg="add mod">
          <ac:chgData name="Louis-Guillaume Morand" userId="40ad395802f30fee" providerId="LiveId" clId="{FAD786C8-6F7E-43FC-B825-BB9FDAB99835}" dt="2019-11-18T16:42:57.261" v="355" actId="1076"/>
          <ac:spMkLst>
            <pc:docMk/>
            <pc:sldMk cId="144282937" sldId="263"/>
            <ac:spMk id="17" creationId="{B304F113-3A14-4C0D-918A-84C84A5A7850}"/>
          </ac:spMkLst>
        </pc:spChg>
      </pc:sldChg>
      <pc:sldChg chg="del">
        <pc:chgData name="Louis-Guillaume Morand" userId="40ad395802f30fee" providerId="LiveId" clId="{FAD786C8-6F7E-43FC-B825-BB9FDAB99835}" dt="2019-11-18T15:38:22.194" v="112" actId="2696"/>
        <pc:sldMkLst>
          <pc:docMk/>
          <pc:sldMk cId="1188808309" sldId="264"/>
        </pc:sldMkLst>
      </pc:sldChg>
      <pc:sldChg chg="del">
        <pc:chgData name="Louis-Guillaume Morand" userId="40ad395802f30fee" providerId="LiveId" clId="{FAD786C8-6F7E-43FC-B825-BB9FDAB99835}" dt="2019-11-18T15:38:22.805" v="113" actId="2696"/>
        <pc:sldMkLst>
          <pc:docMk/>
          <pc:sldMk cId="3006963303" sldId="265"/>
        </pc:sldMkLst>
      </pc:sldChg>
      <pc:sldChg chg="del">
        <pc:chgData name="Louis-Guillaume Morand" userId="40ad395802f30fee" providerId="LiveId" clId="{FAD786C8-6F7E-43FC-B825-BB9FDAB99835}" dt="2019-11-18T15:38:23.385" v="114" actId="2696"/>
        <pc:sldMkLst>
          <pc:docMk/>
          <pc:sldMk cId="1504097599" sldId="266"/>
        </pc:sldMkLst>
      </pc:sldChg>
      <pc:sldChg chg="modSp add del">
        <pc:chgData name="Louis-Guillaume Morand" userId="40ad395802f30fee" providerId="LiveId" clId="{FAD786C8-6F7E-43FC-B825-BB9FDAB99835}" dt="2019-11-19T09:42:47.313" v="1374" actId="20577"/>
        <pc:sldMkLst>
          <pc:docMk/>
          <pc:sldMk cId="1658514946" sldId="267"/>
        </pc:sldMkLst>
        <pc:spChg chg="mod">
          <ac:chgData name="Louis-Guillaume Morand" userId="40ad395802f30fee" providerId="LiveId" clId="{FAD786C8-6F7E-43FC-B825-BB9FDAB99835}" dt="2019-11-19T09:42:47.313" v="1374" actId="20577"/>
          <ac:spMkLst>
            <pc:docMk/>
            <pc:sldMk cId="1658514946" sldId="267"/>
            <ac:spMk id="3" creationId="{D5F1FBDC-5EA2-4646-8BE1-792097C72278}"/>
          </ac:spMkLst>
        </pc:spChg>
      </pc:sldChg>
      <pc:sldChg chg="del ord">
        <pc:chgData name="Louis-Guillaume Morand" userId="40ad395802f30fee" providerId="LiveId" clId="{FAD786C8-6F7E-43FC-B825-BB9FDAB99835}" dt="2019-11-20T11:21:08.789" v="2530" actId="2696"/>
        <pc:sldMkLst>
          <pc:docMk/>
          <pc:sldMk cId="2233166858" sldId="268"/>
        </pc:sldMkLst>
      </pc:sldChg>
      <pc:sldChg chg="del">
        <pc:chgData name="Louis-Guillaume Morand" userId="40ad395802f30fee" providerId="LiveId" clId="{FAD786C8-6F7E-43FC-B825-BB9FDAB99835}" dt="2019-11-19T11:04:04.122" v="1911" actId="2696"/>
        <pc:sldMkLst>
          <pc:docMk/>
          <pc:sldMk cId="4063760785" sldId="271"/>
        </pc:sldMkLst>
      </pc:sldChg>
      <pc:sldChg chg="del">
        <pc:chgData name="Louis-Guillaume Morand" userId="40ad395802f30fee" providerId="LiveId" clId="{FAD786C8-6F7E-43FC-B825-BB9FDAB99835}" dt="2019-11-20T11:21:09.641" v="2531" actId="2696"/>
        <pc:sldMkLst>
          <pc:docMk/>
          <pc:sldMk cId="3661966733" sldId="272"/>
        </pc:sldMkLst>
      </pc:sldChg>
      <pc:sldChg chg="del">
        <pc:chgData name="Louis-Guillaume Morand" userId="40ad395802f30fee" providerId="LiveId" clId="{FAD786C8-6F7E-43FC-B825-BB9FDAB99835}" dt="2019-11-19T11:03:30.567" v="1907" actId="2696"/>
        <pc:sldMkLst>
          <pc:docMk/>
          <pc:sldMk cId="4092122045" sldId="273"/>
        </pc:sldMkLst>
      </pc:sldChg>
      <pc:sldChg chg="del">
        <pc:chgData name="Louis-Guillaume Morand" userId="40ad395802f30fee" providerId="LiveId" clId="{FAD786C8-6F7E-43FC-B825-BB9FDAB99835}" dt="2019-11-18T15:29:50.341" v="71" actId="2696"/>
        <pc:sldMkLst>
          <pc:docMk/>
          <pc:sldMk cId="171669578" sldId="275"/>
        </pc:sldMkLst>
      </pc:sldChg>
      <pc:sldChg chg="del">
        <pc:chgData name="Louis-Guillaume Morand" userId="40ad395802f30fee" providerId="LiveId" clId="{FAD786C8-6F7E-43FC-B825-BB9FDAB99835}" dt="2019-11-19T11:03:27.089" v="1906" actId="2696"/>
        <pc:sldMkLst>
          <pc:docMk/>
          <pc:sldMk cId="3647244002" sldId="276"/>
        </pc:sldMkLst>
      </pc:sldChg>
      <pc:sldChg chg="del">
        <pc:chgData name="Louis-Guillaume Morand" userId="40ad395802f30fee" providerId="LiveId" clId="{FAD786C8-6F7E-43FC-B825-BB9FDAB99835}" dt="2019-11-19T11:03:43.217" v="1908" actId="2696"/>
        <pc:sldMkLst>
          <pc:docMk/>
          <pc:sldMk cId="422781464" sldId="277"/>
        </pc:sldMkLst>
      </pc:sldChg>
      <pc:sldChg chg="del">
        <pc:chgData name="Louis-Guillaume Morand" userId="40ad395802f30fee" providerId="LiveId" clId="{FAD786C8-6F7E-43FC-B825-BB9FDAB99835}" dt="2019-11-19T11:03:45.880" v="1910" actId="2696"/>
        <pc:sldMkLst>
          <pc:docMk/>
          <pc:sldMk cId="3410849863" sldId="278"/>
        </pc:sldMkLst>
      </pc:sldChg>
      <pc:sldChg chg="del">
        <pc:chgData name="Louis-Guillaume Morand" userId="40ad395802f30fee" providerId="LiveId" clId="{FAD786C8-6F7E-43FC-B825-BB9FDAB99835}" dt="2019-11-19T11:03:44.856" v="1909" actId="2696"/>
        <pc:sldMkLst>
          <pc:docMk/>
          <pc:sldMk cId="818086028" sldId="279"/>
        </pc:sldMkLst>
      </pc:sldChg>
      <pc:sldChg chg="del">
        <pc:chgData name="Louis-Guillaume Morand" userId="40ad395802f30fee" providerId="LiveId" clId="{FAD786C8-6F7E-43FC-B825-BB9FDAB99835}" dt="2019-11-18T21:06:00.564" v="1368" actId="2696"/>
        <pc:sldMkLst>
          <pc:docMk/>
          <pc:sldMk cId="2268041421" sldId="280"/>
        </pc:sldMkLst>
      </pc:sldChg>
      <pc:sldChg chg="del">
        <pc:chgData name="Louis-Guillaume Morand" userId="40ad395802f30fee" providerId="LiveId" clId="{FAD786C8-6F7E-43FC-B825-BB9FDAB99835}" dt="2019-11-18T15:30:38.793" v="73" actId="2696"/>
        <pc:sldMkLst>
          <pc:docMk/>
          <pc:sldMk cId="3435765229" sldId="282"/>
        </pc:sldMkLst>
      </pc:sldChg>
      <pc:sldChg chg="del">
        <pc:chgData name="Louis-Guillaume Morand" userId="40ad395802f30fee" providerId="LiveId" clId="{FAD786C8-6F7E-43FC-B825-BB9FDAB99835}" dt="2019-11-18T15:29:45.275" v="70" actId="2696"/>
        <pc:sldMkLst>
          <pc:docMk/>
          <pc:sldMk cId="2313644049" sldId="283"/>
        </pc:sldMkLst>
      </pc:sldChg>
      <pc:sldChg chg="del">
        <pc:chgData name="Louis-Guillaume Morand" userId="40ad395802f30fee" providerId="LiveId" clId="{FAD786C8-6F7E-43FC-B825-BB9FDAB99835}" dt="2019-11-18T15:30:09.669" v="72" actId="2696"/>
        <pc:sldMkLst>
          <pc:docMk/>
          <pc:sldMk cId="1999067351" sldId="284"/>
        </pc:sldMkLst>
      </pc:sldChg>
      <pc:sldChg chg="del">
        <pc:chgData name="Louis-Guillaume Morand" userId="40ad395802f30fee" providerId="LiveId" clId="{FAD786C8-6F7E-43FC-B825-BB9FDAB99835}" dt="2019-11-18T15:30:47.646" v="75" actId="2696"/>
        <pc:sldMkLst>
          <pc:docMk/>
          <pc:sldMk cId="419147575" sldId="285"/>
        </pc:sldMkLst>
      </pc:sldChg>
      <pc:sldChg chg="del">
        <pc:chgData name="Louis-Guillaume Morand" userId="40ad395802f30fee" providerId="LiveId" clId="{FAD786C8-6F7E-43FC-B825-BB9FDAB99835}" dt="2019-11-20T11:21:10.829" v="2532" actId="2696"/>
        <pc:sldMkLst>
          <pc:docMk/>
          <pc:sldMk cId="2601052380" sldId="288"/>
        </pc:sldMkLst>
      </pc:sldChg>
      <pc:sldChg chg="del">
        <pc:chgData name="Louis-Guillaume Morand" userId="40ad395802f30fee" providerId="LiveId" clId="{FAD786C8-6F7E-43FC-B825-BB9FDAB99835}" dt="2019-11-18T21:06:17.511" v="1369" actId="2696"/>
        <pc:sldMkLst>
          <pc:docMk/>
          <pc:sldMk cId="2967775935" sldId="290"/>
        </pc:sldMkLst>
      </pc:sldChg>
      <pc:sldChg chg="del">
        <pc:chgData name="Louis-Guillaume Morand" userId="40ad395802f30fee" providerId="LiveId" clId="{FAD786C8-6F7E-43FC-B825-BB9FDAB99835}" dt="2019-11-18T15:30:43.980" v="74" actId="2696"/>
        <pc:sldMkLst>
          <pc:docMk/>
          <pc:sldMk cId="2042924150" sldId="291"/>
        </pc:sldMkLst>
      </pc:sldChg>
      <pc:sldChg chg="addSp delSp modSp">
        <pc:chgData name="Louis-Guillaume Morand" userId="40ad395802f30fee" providerId="LiveId" clId="{FAD786C8-6F7E-43FC-B825-BB9FDAB99835}" dt="2019-11-18T16:49:47.898" v="411"/>
        <pc:sldMkLst>
          <pc:docMk/>
          <pc:sldMk cId="3503747120" sldId="293"/>
        </pc:sldMkLst>
        <pc:spChg chg="mod">
          <ac:chgData name="Louis-Guillaume Morand" userId="40ad395802f30fee" providerId="LiveId" clId="{FAD786C8-6F7E-43FC-B825-BB9FDAB99835}" dt="2019-11-18T15:30:58.244" v="76" actId="6549"/>
          <ac:spMkLst>
            <pc:docMk/>
            <pc:sldMk cId="3503747120" sldId="293"/>
            <ac:spMk id="3" creationId="{E0FF514E-EAE9-447A-B949-C3F2D1F33B3E}"/>
          </ac:spMkLst>
        </pc:spChg>
        <pc:spChg chg="del">
          <ac:chgData name="Louis-Guillaume Morand" userId="40ad395802f30fee" providerId="LiveId" clId="{FAD786C8-6F7E-43FC-B825-BB9FDAB99835}" dt="2019-11-18T15:32:28.689" v="79" actId="931"/>
          <ac:spMkLst>
            <pc:docMk/>
            <pc:sldMk cId="3503747120" sldId="293"/>
            <ac:spMk id="4" creationId="{5B5E8D7A-E4C9-436B-B006-209DAE99B249}"/>
          </ac:spMkLst>
        </pc:spChg>
        <pc:spChg chg="del mod">
          <ac:chgData name="Louis-Guillaume Morand" userId="40ad395802f30fee" providerId="LiveId" clId="{FAD786C8-6F7E-43FC-B825-BB9FDAB99835}" dt="2019-11-18T15:32:25.213" v="78" actId="478"/>
          <ac:spMkLst>
            <pc:docMk/>
            <pc:sldMk cId="3503747120" sldId="293"/>
            <ac:spMk id="6" creationId="{43E1AC1F-0D96-4984-92DD-74CCD57E9F05}"/>
          </ac:spMkLst>
        </pc:spChg>
        <pc:graphicFrameChg chg="add del mod">
          <ac:chgData name="Louis-Guillaume Morand" userId="40ad395802f30fee" providerId="LiveId" clId="{FAD786C8-6F7E-43FC-B825-BB9FDAB99835}" dt="2019-11-18T15:33:10.042" v="85" actId="12084"/>
          <ac:graphicFrameMkLst>
            <pc:docMk/>
            <pc:sldMk cId="3503747120" sldId="293"/>
            <ac:graphicFrameMk id="7" creationId="{CF986521-CCDA-446C-A3B0-0400DBEE275F}"/>
          </ac:graphicFrameMkLst>
        </pc:graphicFrameChg>
        <pc:graphicFrameChg chg="add del mod">
          <ac:chgData name="Louis-Guillaume Morand" userId="40ad395802f30fee" providerId="LiveId" clId="{FAD786C8-6F7E-43FC-B825-BB9FDAB99835}" dt="2019-11-18T15:33:49.015" v="93" actId="12084"/>
          <ac:graphicFrameMkLst>
            <pc:docMk/>
            <pc:sldMk cId="3503747120" sldId="293"/>
            <ac:graphicFrameMk id="8" creationId="{BE031229-0BAB-466E-83D6-8341ECEA712C}"/>
          </ac:graphicFrameMkLst>
        </pc:graphicFrameChg>
        <pc:picChg chg="add del mod">
          <ac:chgData name="Louis-Guillaume Morand" userId="40ad395802f30fee" providerId="LiveId" clId="{FAD786C8-6F7E-43FC-B825-BB9FDAB99835}" dt="2019-11-18T16:49:47.898" v="411"/>
          <ac:picMkLst>
            <pc:docMk/>
            <pc:sldMk cId="3503747120" sldId="293"/>
            <ac:picMk id="5" creationId="{E897DF35-66D1-447A-995E-1C93717E8F0C}"/>
          </ac:picMkLst>
        </pc:picChg>
      </pc:sldChg>
      <pc:sldChg chg="addSp modSp add ord">
        <pc:chgData name="Louis-Guillaume Morand" userId="40ad395802f30fee" providerId="LiveId" clId="{FAD786C8-6F7E-43FC-B825-BB9FDAB99835}" dt="2019-11-21T14:25:33.981" v="2697" actId="1076"/>
        <pc:sldMkLst>
          <pc:docMk/>
          <pc:sldMk cId="3377047004" sldId="498"/>
        </pc:sldMkLst>
        <pc:spChg chg="mod">
          <ac:chgData name="Louis-Guillaume Morand" userId="40ad395802f30fee" providerId="LiveId" clId="{FAD786C8-6F7E-43FC-B825-BB9FDAB99835}" dt="2019-11-18T17:40:00.368" v="670" actId="20577"/>
          <ac:spMkLst>
            <pc:docMk/>
            <pc:sldMk cId="3377047004" sldId="498"/>
            <ac:spMk id="3" creationId="{030C5B6E-322F-4175-875C-3546241B4031}"/>
          </ac:spMkLst>
        </pc:spChg>
        <pc:spChg chg="mod">
          <ac:chgData name="Louis-Guillaume Morand" userId="40ad395802f30fee" providerId="LiveId" clId="{FAD786C8-6F7E-43FC-B825-BB9FDAB99835}" dt="2019-11-21T14:25:33.981" v="2697" actId="1076"/>
          <ac:spMkLst>
            <pc:docMk/>
            <pc:sldMk cId="3377047004" sldId="498"/>
            <ac:spMk id="5" creationId="{0B4C3F29-4B45-4FFD-98DF-428EF7D7F138}"/>
          </ac:spMkLst>
        </pc:spChg>
        <pc:cxnChg chg="add mod">
          <ac:chgData name="Louis-Guillaume Morand" userId="40ad395802f30fee" providerId="LiveId" clId="{FAD786C8-6F7E-43FC-B825-BB9FDAB99835}" dt="2019-11-18T15:27:39.944" v="66" actId="1076"/>
          <ac:cxnSpMkLst>
            <pc:docMk/>
            <pc:sldMk cId="3377047004" sldId="498"/>
            <ac:cxnSpMk id="4" creationId="{446BB47D-F5E9-4ED3-A3AB-64CEA0693EFF}"/>
          </ac:cxnSpMkLst>
        </pc:cxnChg>
      </pc:sldChg>
      <pc:sldChg chg="addSp modSp add ord">
        <pc:chgData name="Louis-Guillaume Morand" userId="40ad395802f30fee" providerId="LiveId" clId="{FAD786C8-6F7E-43FC-B825-BB9FDAB99835}" dt="2019-11-18T17:46:25.423" v="698" actId="20577"/>
        <pc:sldMkLst>
          <pc:docMk/>
          <pc:sldMk cId="1585270167" sldId="499"/>
        </pc:sldMkLst>
        <pc:spChg chg="mod">
          <ac:chgData name="Louis-Guillaume Morand" userId="40ad395802f30fee" providerId="LiveId" clId="{FAD786C8-6F7E-43FC-B825-BB9FDAB99835}" dt="2019-11-18T17:46:25.423" v="698" actId="20577"/>
          <ac:spMkLst>
            <pc:docMk/>
            <pc:sldMk cId="1585270167" sldId="499"/>
            <ac:spMk id="4" creationId="{B469DDCF-3AEB-4B25-83CB-0A8AC9F0A523}"/>
          </ac:spMkLst>
        </pc:spChg>
        <pc:cxnChg chg="add mod">
          <ac:chgData name="Louis-Guillaume Morand" userId="40ad395802f30fee" providerId="LiveId" clId="{FAD786C8-6F7E-43FC-B825-BB9FDAB99835}" dt="2019-11-18T15:27:33.400" v="64" actId="1076"/>
          <ac:cxnSpMkLst>
            <pc:docMk/>
            <pc:sldMk cId="1585270167" sldId="499"/>
            <ac:cxnSpMk id="5" creationId="{A568A101-CEDD-495B-BCE7-234B53A0AC53}"/>
          </ac:cxnSpMkLst>
        </pc:cxnChg>
      </pc:sldChg>
      <pc:sldChg chg="modSp add">
        <pc:chgData name="Louis-Guillaume Morand" userId="40ad395802f30fee" providerId="LiveId" clId="{FAD786C8-6F7E-43FC-B825-BB9FDAB99835}" dt="2019-11-18T16:01:50.197" v="166" actId="207"/>
        <pc:sldMkLst>
          <pc:docMk/>
          <pc:sldMk cId="3568853639" sldId="500"/>
        </pc:sldMkLst>
        <pc:spChg chg="mod">
          <ac:chgData name="Louis-Guillaume Morand" userId="40ad395802f30fee" providerId="LiveId" clId="{FAD786C8-6F7E-43FC-B825-BB9FDAB99835}" dt="2019-11-18T16:01:50.197" v="166" actId="207"/>
          <ac:spMkLst>
            <pc:docMk/>
            <pc:sldMk cId="3568853639" sldId="500"/>
            <ac:spMk id="3" creationId="{D5F1FBDC-5EA2-4646-8BE1-792097C72278}"/>
          </ac:spMkLst>
        </pc:spChg>
      </pc:sldChg>
      <pc:sldChg chg="addSp delSp modSp add">
        <pc:chgData name="Louis-Guillaume Morand" userId="40ad395802f30fee" providerId="LiveId" clId="{FAD786C8-6F7E-43FC-B825-BB9FDAB99835}" dt="2019-11-18T16:04:13.749" v="201" actId="478"/>
        <pc:sldMkLst>
          <pc:docMk/>
          <pc:sldMk cId="458482648" sldId="501"/>
        </pc:sldMkLst>
        <pc:spChg chg="mod">
          <ac:chgData name="Louis-Guillaume Morand" userId="40ad395802f30fee" providerId="LiveId" clId="{FAD786C8-6F7E-43FC-B825-BB9FDAB99835}" dt="2019-11-18T16:02:05.933" v="193" actId="20577"/>
          <ac:spMkLst>
            <pc:docMk/>
            <pc:sldMk cId="458482648" sldId="501"/>
            <ac:spMk id="3" creationId="{C2749855-BB21-4138-8E2F-B07A3E84698B}"/>
          </ac:spMkLst>
        </pc:spChg>
        <pc:spChg chg="del">
          <ac:chgData name="Louis-Guillaume Morand" userId="40ad395802f30fee" providerId="LiveId" clId="{FAD786C8-6F7E-43FC-B825-BB9FDAB99835}" dt="2019-11-18T16:04:05.490" v="194" actId="478"/>
          <ac:spMkLst>
            <pc:docMk/>
            <pc:sldMk cId="458482648" sldId="501"/>
            <ac:spMk id="4" creationId="{B469DDCF-3AEB-4B25-83CB-0A8AC9F0A523}"/>
          </ac:spMkLst>
        </pc:spChg>
        <pc:spChg chg="add del mod">
          <ac:chgData name="Louis-Guillaume Morand" userId="40ad395802f30fee" providerId="LiveId" clId="{FAD786C8-6F7E-43FC-B825-BB9FDAB99835}" dt="2019-11-18T16:04:13.749" v="201" actId="478"/>
          <ac:spMkLst>
            <pc:docMk/>
            <pc:sldMk cId="458482648" sldId="501"/>
            <ac:spMk id="6" creationId="{73B9E3F0-DBF2-42A5-AC03-D88021F9DCC1}"/>
          </ac:spMkLst>
        </pc:spChg>
        <pc:picChg chg="add mod">
          <ac:chgData name="Louis-Guillaume Morand" userId="40ad395802f30fee" providerId="LiveId" clId="{FAD786C8-6F7E-43FC-B825-BB9FDAB99835}" dt="2019-11-18T16:04:12.869" v="199" actId="27614"/>
          <ac:picMkLst>
            <pc:docMk/>
            <pc:sldMk cId="458482648" sldId="501"/>
            <ac:picMk id="8" creationId="{C22D6CC6-DBE3-40C0-947C-DE748C352021}"/>
          </ac:picMkLst>
        </pc:picChg>
      </pc:sldChg>
      <pc:sldChg chg="modSp add ord">
        <pc:chgData name="Louis-Guillaume Morand" userId="40ad395802f30fee" providerId="LiveId" clId="{FAD786C8-6F7E-43FC-B825-BB9FDAB99835}" dt="2019-11-18T19:56:10.740" v="874" actId="20577"/>
        <pc:sldMkLst>
          <pc:docMk/>
          <pc:sldMk cId="2441486724" sldId="502"/>
        </pc:sldMkLst>
        <pc:spChg chg="mod">
          <ac:chgData name="Louis-Guillaume Morand" userId="40ad395802f30fee" providerId="LiveId" clId="{FAD786C8-6F7E-43FC-B825-BB9FDAB99835}" dt="2019-11-18T19:56:10.740" v="874" actId="20577"/>
          <ac:spMkLst>
            <pc:docMk/>
            <pc:sldMk cId="2441486724" sldId="502"/>
            <ac:spMk id="3" creationId="{D5F1FBDC-5EA2-4646-8BE1-792097C72278}"/>
          </ac:spMkLst>
        </pc:spChg>
      </pc:sldChg>
      <pc:sldChg chg="delSp modSp add delAnim modAnim">
        <pc:chgData name="Louis-Guillaume Morand" userId="40ad395802f30fee" providerId="LiveId" clId="{FAD786C8-6F7E-43FC-B825-BB9FDAB99835}" dt="2019-11-18T16:48:37.204" v="410" actId="478"/>
        <pc:sldMkLst>
          <pc:docMk/>
          <pc:sldMk cId="456302436" sldId="503"/>
        </pc:sldMkLst>
        <pc:spChg chg="mod">
          <ac:chgData name="Louis-Guillaume Morand" userId="40ad395802f30fee" providerId="LiveId" clId="{FAD786C8-6F7E-43FC-B825-BB9FDAB99835}" dt="2019-11-18T16:46:59.026" v="403" actId="207"/>
          <ac:spMkLst>
            <pc:docMk/>
            <pc:sldMk cId="456302436" sldId="503"/>
            <ac:spMk id="3" creationId="{ECEAA242-EFBC-4D2A-8680-79BB58B3EA3E}"/>
          </ac:spMkLst>
        </pc:spChg>
        <pc:spChg chg="mod">
          <ac:chgData name="Louis-Guillaume Morand" userId="40ad395802f30fee" providerId="LiveId" clId="{FAD786C8-6F7E-43FC-B825-BB9FDAB99835}" dt="2019-11-18T16:47:25.921" v="404"/>
          <ac:spMkLst>
            <pc:docMk/>
            <pc:sldMk cId="456302436" sldId="503"/>
            <ac:spMk id="4" creationId="{657958AF-32A5-4B79-A406-D4CCA66FC2A4}"/>
          </ac:spMkLst>
        </pc:spChg>
        <pc:spChg chg="mod">
          <ac:chgData name="Louis-Guillaume Morand" userId="40ad395802f30fee" providerId="LiveId" clId="{FAD786C8-6F7E-43FC-B825-BB9FDAB99835}" dt="2019-11-18T16:47:38.125" v="405"/>
          <ac:spMkLst>
            <pc:docMk/>
            <pc:sldMk cId="456302436" sldId="503"/>
            <ac:spMk id="6" creationId="{EFB550A7-EE75-43BB-9673-DA7800B87E54}"/>
          </ac:spMkLst>
        </pc:spChg>
        <pc:spChg chg="mod">
          <ac:chgData name="Louis-Guillaume Morand" userId="40ad395802f30fee" providerId="LiveId" clId="{FAD786C8-6F7E-43FC-B825-BB9FDAB99835}" dt="2019-11-18T16:47:48.841" v="406"/>
          <ac:spMkLst>
            <pc:docMk/>
            <pc:sldMk cId="456302436" sldId="503"/>
            <ac:spMk id="7" creationId="{8B17AAC3-8A99-475E-AD61-0B10C3631165}"/>
          </ac:spMkLst>
        </pc:spChg>
        <pc:spChg chg="mod">
          <ac:chgData name="Louis-Guillaume Morand" userId="40ad395802f30fee" providerId="LiveId" clId="{FAD786C8-6F7E-43FC-B825-BB9FDAB99835}" dt="2019-11-18T16:48:13.911" v="409"/>
          <ac:spMkLst>
            <pc:docMk/>
            <pc:sldMk cId="456302436" sldId="503"/>
            <ac:spMk id="12" creationId="{DBA62739-A399-4A54-B5DD-0B44CED1087B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4" creationId="{221EF84A-CE8F-4A54-A4D0-F13496C37CBF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5" creationId="{2762E981-DB8C-487B-B1E0-7E2C79A4D112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6" creationId="{3232BB60-4127-4842-88C6-63065761D435}"/>
          </ac:spMkLst>
        </pc:spChg>
        <pc:spChg chg="del">
          <ac:chgData name="Louis-Guillaume Morand" userId="40ad395802f30fee" providerId="LiveId" clId="{FAD786C8-6F7E-43FC-B825-BB9FDAB99835}" dt="2019-11-18T16:48:37.204" v="410" actId="478"/>
          <ac:spMkLst>
            <pc:docMk/>
            <pc:sldMk cId="456302436" sldId="503"/>
            <ac:spMk id="17" creationId="{B304F113-3A14-4C0D-918A-84C84A5A7850}"/>
          </ac:spMkLst>
        </pc:spChg>
      </pc:sldChg>
      <pc:sldChg chg="addSp delSp modSp add del">
        <pc:chgData name="Louis-Guillaume Morand" userId="40ad395802f30fee" providerId="LiveId" clId="{FAD786C8-6F7E-43FC-B825-BB9FDAB99835}" dt="2019-11-18T16:43:58.338" v="362" actId="2696"/>
        <pc:sldMkLst>
          <pc:docMk/>
          <pc:sldMk cId="655956363" sldId="503"/>
        </pc:sldMkLst>
        <pc:spChg chg="mod">
          <ac:chgData name="Louis-Guillaume Morand" userId="40ad395802f30fee" providerId="LiveId" clId="{FAD786C8-6F7E-43FC-B825-BB9FDAB99835}" dt="2019-11-18T16:27:33.699" v="276" actId="20577"/>
          <ac:spMkLst>
            <pc:docMk/>
            <pc:sldMk cId="655956363" sldId="503"/>
            <ac:spMk id="3" creationId="{C2749855-BB21-4138-8E2F-B07A3E84698B}"/>
          </ac:spMkLst>
        </pc:spChg>
        <pc:spChg chg="add mod">
          <ac:chgData name="Louis-Guillaume Morand" userId="40ad395802f30fee" providerId="LiveId" clId="{FAD786C8-6F7E-43FC-B825-BB9FDAB99835}" dt="2019-11-18T16:32:39.712" v="316" actId="12789"/>
          <ac:spMkLst>
            <pc:docMk/>
            <pc:sldMk cId="655956363" sldId="503"/>
            <ac:spMk id="6" creationId="{3F1C1AF2-306D-419D-AC73-EED86A2E95CD}"/>
          </ac:spMkLst>
        </pc:spChg>
        <pc:picChg chg="del">
          <ac:chgData name="Louis-Guillaume Morand" userId="40ad395802f30fee" providerId="LiveId" clId="{FAD786C8-6F7E-43FC-B825-BB9FDAB99835}" dt="2019-11-18T16:27:34.835" v="277" actId="478"/>
          <ac:picMkLst>
            <pc:docMk/>
            <pc:sldMk cId="655956363" sldId="503"/>
            <ac:picMk id="8" creationId="{C22D6CC6-DBE3-40C0-947C-DE748C352021}"/>
          </ac:picMkLst>
        </pc:picChg>
      </pc:sldChg>
      <pc:sldChg chg="modSp add">
        <pc:chgData name="Louis-Guillaume Morand" userId="40ad395802f30fee" providerId="LiveId" clId="{FAD786C8-6F7E-43FC-B825-BB9FDAB99835}" dt="2019-11-18T17:48:30.114" v="850" actId="20577"/>
        <pc:sldMkLst>
          <pc:docMk/>
          <pc:sldMk cId="1481889013" sldId="504"/>
        </pc:sldMkLst>
        <pc:spChg chg="mod">
          <ac:chgData name="Louis-Guillaume Morand" userId="40ad395802f30fee" providerId="LiveId" clId="{FAD786C8-6F7E-43FC-B825-BB9FDAB99835}" dt="2019-11-18T17:01:50.080" v="429" actId="6549"/>
          <ac:spMkLst>
            <pc:docMk/>
            <pc:sldMk cId="1481889013" sldId="504"/>
            <ac:spMk id="3" creationId="{C2749855-BB21-4138-8E2F-B07A3E84698B}"/>
          </ac:spMkLst>
        </pc:spChg>
        <pc:spChg chg="mod">
          <ac:chgData name="Louis-Guillaume Morand" userId="40ad395802f30fee" providerId="LiveId" clId="{FAD786C8-6F7E-43FC-B825-BB9FDAB99835}" dt="2019-11-18T17:48:30.114" v="850" actId="20577"/>
          <ac:spMkLst>
            <pc:docMk/>
            <pc:sldMk cId="1481889013" sldId="504"/>
            <ac:spMk id="4" creationId="{B469DDCF-3AEB-4B25-83CB-0A8AC9F0A523}"/>
          </ac:spMkLst>
        </pc:spChg>
      </pc:sldChg>
      <pc:sldChg chg="add del modTransition">
        <pc:chgData name="Louis-Guillaume Morand" userId="40ad395802f30fee" providerId="LiveId" clId="{FAD786C8-6F7E-43FC-B825-BB9FDAB99835}" dt="2019-11-19T17:02:42.524" v="1998" actId="2696"/>
        <pc:sldMkLst>
          <pc:docMk/>
          <pc:sldMk cId="650194314" sldId="505"/>
        </pc:sldMkLst>
      </pc:sldChg>
      <pc:sldChg chg="delSp modSp add del">
        <pc:chgData name="Louis-Guillaume Morand" userId="40ad395802f30fee" providerId="LiveId" clId="{FAD786C8-6F7E-43FC-B825-BB9FDAB99835}" dt="2019-11-19T09:43:54.152" v="1375" actId="2696"/>
        <pc:sldMkLst>
          <pc:docMk/>
          <pc:sldMk cId="3538117547" sldId="506"/>
        </pc:sldMkLst>
        <pc:spChg chg="mod">
          <ac:chgData name="Louis-Guillaume Morand" userId="40ad395802f30fee" providerId="LiveId" clId="{FAD786C8-6F7E-43FC-B825-BB9FDAB99835}" dt="2019-11-18T20:02:01.998" v="883" actId="20577"/>
          <ac:spMkLst>
            <pc:docMk/>
            <pc:sldMk cId="3538117547" sldId="506"/>
            <ac:spMk id="3" creationId="{C2749855-BB21-4138-8E2F-B07A3E84698B}"/>
          </ac:spMkLst>
        </pc:spChg>
        <pc:picChg chg="del">
          <ac:chgData name="Louis-Guillaume Morand" userId="40ad395802f30fee" providerId="LiveId" clId="{FAD786C8-6F7E-43FC-B825-BB9FDAB99835}" dt="2019-11-18T20:02:03.514" v="884" actId="478"/>
          <ac:picMkLst>
            <pc:docMk/>
            <pc:sldMk cId="3538117547" sldId="506"/>
            <ac:picMk id="8" creationId="{C22D6CC6-DBE3-40C0-947C-DE748C352021}"/>
          </ac:picMkLst>
        </pc:picChg>
      </pc:sldChg>
      <pc:sldChg chg="addSp delSp modSp add ord delAnim modAnim">
        <pc:chgData name="Louis-Guillaume Morand" userId="40ad395802f30fee" providerId="LiveId" clId="{FAD786C8-6F7E-43FC-B825-BB9FDAB99835}" dt="2019-11-19T21:54:53.924" v="2198"/>
        <pc:sldMkLst>
          <pc:docMk/>
          <pc:sldMk cId="2940023887" sldId="507"/>
        </pc:sldMkLst>
        <pc:spChg chg="del">
          <ac:chgData name="Louis-Guillaume Morand" userId="40ad395802f30fee" providerId="LiveId" clId="{FAD786C8-6F7E-43FC-B825-BB9FDAB99835}" dt="2019-11-18T20:03:21.050" v="897" actId="931"/>
          <ac:spMkLst>
            <pc:docMk/>
            <pc:sldMk cId="2940023887" sldId="507"/>
            <ac:spMk id="3" creationId="{08F0499A-D3B5-4CE8-9E91-55E7B0070579}"/>
          </ac:spMkLst>
        </pc:spChg>
        <pc:spChg chg="del">
          <ac:chgData name="Louis-Guillaume Morand" userId="40ad395802f30fee" providerId="LiveId" clId="{FAD786C8-6F7E-43FC-B825-BB9FDAB99835}" dt="2019-11-18T20:03:54.665" v="902" actId="931"/>
          <ac:spMkLst>
            <pc:docMk/>
            <pc:sldMk cId="2940023887" sldId="507"/>
            <ac:spMk id="6" creationId="{4403DC50-DF8F-4568-90DB-8DB9AACC1609}"/>
          </ac:spMkLst>
        </pc:spChg>
        <pc:spChg chg="mod">
          <ac:chgData name="Louis-Guillaume Morand" userId="40ad395802f30fee" providerId="LiveId" clId="{FAD786C8-6F7E-43FC-B825-BB9FDAB99835}" dt="2019-11-18T20:02:30.438" v="896" actId="6549"/>
          <ac:spMkLst>
            <pc:docMk/>
            <pc:sldMk cId="2940023887" sldId="507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18T20:25:41.310" v="1170" actId="1076"/>
          <ac:spMkLst>
            <pc:docMk/>
            <pc:sldMk cId="2940023887" sldId="507"/>
            <ac:spMk id="9" creationId="{494F4D64-01FC-4189-A7B9-BE2C6D3B1620}"/>
          </ac:spMkLst>
        </pc:spChg>
        <pc:spChg chg="mod">
          <ac:chgData name="Louis-Guillaume Morand" userId="40ad395802f30fee" providerId="LiveId" clId="{FAD786C8-6F7E-43FC-B825-BB9FDAB99835}" dt="2019-11-18T20:25:45.831" v="1171" actId="1076"/>
          <ac:spMkLst>
            <pc:docMk/>
            <pc:sldMk cId="2940023887" sldId="507"/>
            <ac:spMk id="10" creationId="{BD69E8AA-7AC5-4D92-A872-813344D9482D}"/>
          </ac:spMkLst>
        </pc:spChg>
        <pc:spChg chg="del">
          <ac:chgData name="Louis-Guillaume Morand" userId="40ad395802f30fee" providerId="LiveId" clId="{FAD786C8-6F7E-43FC-B825-BB9FDAB99835}" dt="2019-11-18T20:13:07.120" v="1152" actId="478"/>
          <ac:spMkLst>
            <pc:docMk/>
            <pc:sldMk cId="2940023887" sldId="507"/>
            <ac:spMk id="11" creationId="{20EFEE8E-FC9B-4F16-BF77-24D09AE0003C}"/>
          </ac:spMkLst>
        </pc:spChg>
        <pc:spChg chg="del">
          <ac:chgData name="Louis-Guillaume Morand" userId="40ad395802f30fee" providerId="LiveId" clId="{FAD786C8-6F7E-43FC-B825-BB9FDAB99835}" dt="2019-11-18T20:08:37.674" v="910" actId="478"/>
          <ac:spMkLst>
            <pc:docMk/>
            <pc:sldMk cId="2940023887" sldId="507"/>
            <ac:spMk id="12" creationId="{28F08F98-4DCE-4BD1-9643-C39BA16A0F9B}"/>
          </ac:spMkLst>
        </pc:spChg>
        <pc:spChg chg="mod">
          <ac:chgData name="Louis-Guillaume Morand" userId="40ad395802f30fee" providerId="LiveId" clId="{FAD786C8-6F7E-43FC-B825-BB9FDAB99835}" dt="2019-11-18T20:26:54.774" v="1193" actId="1076"/>
          <ac:spMkLst>
            <pc:docMk/>
            <pc:sldMk cId="2940023887" sldId="507"/>
            <ac:spMk id="13" creationId="{C48AEF56-A8A1-44BD-90A8-85EE300E7F66}"/>
          </ac:spMkLst>
        </pc:spChg>
        <pc:spChg chg="add mod">
          <ac:chgData name="Louis-Guillaume Morand" userId="40ad395802f30fee" providerId="LiveId" clId="{FAD786C8-6F7E-43FC-B825-BB9FDAB99835}" dt="2019-11-18T20:28:02.799" v="1318" actId="20577"/>
          <ac:spMkLst>
            <pc:docMk/>
            <pc:sldMk cId="2940023887" sldId="507"/>
            <ac:spMk id="21" creationId="{37239F82-C484-4323-8CC0-DBF8AFD10116}"/>
          </ac:spMkLst>
        </pc:spChg>
        <pc:spChg chg="add mod">
          <ac:chgData name="Louis-Guillaume Morand" userId="40ad395802f30fee" providerId="LiveId" clId="{FAD786C8-6F7E-43FC-B825-BB9FDAB99835}" dt="2019-11-19T17:14:29.345" v="2108" actId="20577"/>
          <ac:spMkLst>
            <pc:docMk/>
            <pc:sldMk cId="2940023887" sldId="507"/>
            <ac:spMk id="22" creationId="{97D14F86-BF12-4B2C-834D-3455401A5D8D}"/>
          </ac:spMkLst>
        </pc:spChg>
        <pc:spChg chg="add mod">
          <ac:chgData name="Louis-Guillaume Morand" userId="40ad395802f30fee" providerId="LiveId" clId="{FAD786C8-6F7E-43FC-B825-BB9FDAB99835}" dt="2019-11-18T20:27:45.194" v="1306" actId="20577"/>
          <ac:spMkLst>
            <pc:docMk/>
            <pc:sldMk cId="2940023887" sldId="507"/>
            <ac:spMk id="23" creationId="{E593BE12-54CF-487B-B293-494F6E5D1B73}"/>
          </ac:spMkLst>
        </pc:spChg>
        <pc:picChg chg="add mod ord">
          <ac:chgData name="Louis-Guillaume Morand" userId="40ad395802f30fee" providerId="LiveId" clId="{FAD786C8-6F7E-43FC-B825-BB9FDAB99835}" dt="2019-11-18T20:04:25.005" v="906" actId="1440"/>
          <ac:picMkLst>
            <pc:docMk/>
            <pc:sldMk cId="2940023887" sldId="507"/>
            <ac:picMk id="4" creationId="{C48A061B-323C-4072-B852-722E312B1750}"/>
          </ac:picMkLst>
        </pc:picChg>
        <pc:picChg chg="add mod">
          <ac:chgData name="Louis-Guillaume Morand" userId="40ad395802f30fee" providerId="LiveId" clId="{FAD786C8-6F7E-43FC-B825-BB9FDAB99835}" dt="2019-11-18T20:04:33.347" v="907" actId="1440"/>
          <ac:picMkLst>
            <pc:docMk/>
            <pc:sldMk cId="2940023887" sldId="507"/>
            <ac:picMk id="7" creationId="{DFB7A706-F805-40FD-B699-15E126D18B89}"/>
          </ac:picMkLst>
        </pc:picChg>
        <pc:picChg chg="add del mod">
          <ac:chgData name="Louis-Guillaume Morand" userId="40ad395802f30fee" providerId="LiveId" clId="{FAD786C8-6F7E-43FC-B825-BB9FDAB99835}" dt="2019-11-18T20:13:34.123" v="1160" actId="478"/>
          <ac:picMkLst>
            <pc:docMk/>
            <pc:sldMk cId="2940023887" sldId="507"/>
            <ac:picMk id="14" creationId="{6E443052-8D2E-4794-880B-5543F792E0AD}"/>
          </ac:picMkLst>
        </pc:picChg>
        <pc:picChg chg="add del mod">
          <ac:chgData name="Louis-Guillaume Morand" userId="40ad395802f30fee" providerId="LiveId" clId="{FAD786C8-6F7E-43FC-B825-BB9FDAB99835}" dt="2019-11-18T20:11:38.081" v="1098" actId="478"/>
          <ac:picMkLst>
            <pc:docMk/>
            <pc:sldMk cId="2940023887" sldId="507"/>
            <ac:picMk id="15" creationId="{AE149987-429D-4D91-BC87-B0A829645051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6" creationId="{CEE889CF-37C0-4889-9AE7-BAF32A685753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7" creationId="{BC433B88-A287-4873-89E0-7097F29E6DB2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8" creationId="{5665EFDA-ABF0-411E-BF2E-235E240A3394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19" creationId="{12AC793B-08F5-42FC-8643-77CC6BC1AD81}"/>
          </ac:picMkLst>
        </pc:picChg>
        <pc:picChg chg="add mod">
          <ac:chgData name="Louis-Guillaume Morand" userId="40ad395802f30fee" providerId="LiveId" clId="{FAD786C8-6F7E-43FC-B825-BB9FDAB99835}" dt="2019-11-18T20:27:56.023" v="1316" actId="1038"/>
          <ac:picMkLst>
            <pc:docMk/>
            <pc:sldMk cId="2940023887" sldId="507"/>
            <ac:picMk id="20" creationId="{BB18A6A5-5012-4DD7-8983-DA42E24E5C0A}"/>
          </ac:picMkLst>
        </pc:picChg>
        <pc:picChg chg="add mod">
          <ac:chgData name="Louis-Guillaume Morand" userId="40ad395802f30fee" providerId="LiveId" clId="{FAD786C8-6F7E-43FC-B825-BB9FDAB99835}" dt="2019-11-18T20:33:48.766" v="1367" actId="1076"/>
          <ac:picMkLst>
            <pc:docMk/>
            <pc:sldMk cId="2940023887" sldId="507"/>
            <ac:picMk id="25" creationId="{E683C839-C9C1-4CF4-BB9B-24978CD39289}"/>
          </ac:picMkLst>
        </pc:picChg>
        <pc:picChg chg="add mod">
          <ac:chgData name="Louis-Guillaume Morand" userId="40ad395802f30fee" providerId="LiveId" clId="{FAD786C8-6F7E-43FC-B825-BB9FDAB99835}" dt="2019-11-18T20:33:44.326" v="1366" actId="1076"/>
          <ac:picMkLst>
            <pc:docMk/>
            <pc:sldMk cId="2940023887" sldId="507"/>
            <ac:picMk id="27" creationId="{25193B22-E875-4989-83CE-D383F4D1E645}"/>
          </ac:picMkLst>
        </pc:picChg>
        <pc:picChg chg="add mod">
          <ac:chgData name="Louis-Guillaume Morand" userId="40ad395802f30fee" providerId="LiveId" clId="{FAD786C8-6F7E-43FC-B825-BB9FDAB99835}" dt="2019-11-18T20:33:41.063" v="1364" actId="1076"/>
          <ac:picMkLst>
            <pc:docMk/>
            <pc:sldMk cId="2940023887" sldId="507"/>
            <ac:picMk id="29" creationId="{0C6B3DF1-BA61-422F-B48E-D38BEC26BA6A}"/>
          </ac:picMkLst>
        </pc:picChg>
        <pc:picChg chg="add del mod">
          <ac:chgData name="Louis-Guillaume Morand" userId="40ad395802f30fee" providerId="LiveId" clId="{FAD786C8-6F7E-43FC-B825-BB9FDAB99835}" dt="2019-11-18T20:33:03.509" v="1355" actId="478"/>
          <ac:picMkLst>
            <pc:docMk/>
            <pc:sldMk cId="2940023887" sldId="507"/>
            <ac:picMk id="31" creationId="{378DF65E-5C79-4B50-8A50-5CD22362A407}"/>
          </ac:picMkLst>
        </pc:picChg>
        <pc:picChg chg="add mod">
          <ac:chgData name="Louis-Guillaume Morand" userId="40ad395802f30fee" providerId="LiveId" clId="{FAD786C8-6F7E-43FC-B825-BB9FDAB99835}" dt="2019-11-18T20:33:09.766" v="1359" actId="1076"/>
          <ac:picMkLst>
            <pc:docMk/>
            <pc:sldMk cId="2940023887" sldId="507"/>
            <ac:picMk id="33" creationId="{1D47C2C5-623D-4022-9E5C-DA96D4E32487}"/>
          </ac:picMkLst>
        </pc:picChg>
        <pc:cxnChg chg="add mod">
          <ac:chgData name="Louis-Guillaume Morand" userId="40ad395802f30fee" providerId="LiveId" clId="{FAD786C8-6F7E-43FC-B825-BB9FDAB99835}" dt="2019-11-19T09:49:45.103" v="1412" actId="1076"/>
          <ac:cxnSpMkLst>
            <pc:docMk/>
            <pc:sldMk cId="2940023887" sldId="507"/>
            <ac:cxnSpMk id="24" creationId="{D21B6303-1071-4D26-A913-2ED393A00109}"/>
          </ac:cxnSpMkLst>
        </pc:cxnChg>
      </pc:sldChg>
      <pc:sldChg chg="addSp delSp modSp add mod setBg">
        <pc:chgData name="Louis-Guillaume Morand" userId="40ad395802f30fee" providerId="LiveId" clId="{FAD786C8-6F7E-43FC-B825-BB9FDAB99835}" dt="2019-11-19T17:51:41.046" v="2195" actId="14100"/>
        <pc:sldMkLst>
          <pc:docMk/>
          <pc:sldMk cId="2200105883" sldId="508"/>
        </pc:sldMkLst>
        <pc:spChg chg="del">
          <ac:chgData name="Louis-Guillaume Morand" userId="40ad395802f30fee" providerId="LiveId" clId="{FAD786C8-6F7E-43FC-B825-BB9FDAB99835}" dt="2019-11-19T09:47:59.485" v="1378"/>
          <ac:spMkLst>
            <pc:docMk/>
            <pc:sldMk cId="2200105883" sldId="508"/>
            <ac:spMk id="2" creationId="{0FFBDB1C-E295-4DF0-87FD-A0277E95763B}"/>
          </ac:spMkLst>
        </pc:spChg>
        <pc:spChg chg="add mod">
          <ac:chgData name="Louis-Guillaume Morand" userId="40ad395802f30fee" providerId="LiveId" clId="{FAD786C8-6F7E-43FC-B825-BB9FDAB99835}" dt="2019-11-19T09:48:21.511" v="1392" actId="1076"/>
          <ac:spMkLst>
            <pc:docMk/>
            <pc:sldMk cId="2200105883" sldId="508"/>
            <ac:spMk id="5" creationId="{F83FD27A-6E40-42E1-AD9F-E9E62554B53D}"/>
          </ac:spMkLst>
        </pc:spChg>
        <pc:spChg chg="add del mod">
          <ac:chgData name="Louis-Guillaume Morand" userId="40ad395802f30fee" providerId="LiveId" clId="{FAD786C8-6F7E-43FC-B825-BB9FDAB99835}" dt="2019-11-19T17:04:12.930" v="2002"/>
          <ac:spMkLst>
            <pc:docMk/>
            <pc:sldMk cId="2200105883" sldId="508"/>
            <ac:spMk id="8" creationId="{748F2039-25D9-4CE5-98B6-8D2606620043}"/>
          </ac:spMkLst>
        </pc:spChg>
        <pc:spChg chg="add del mod">
          <ac:chgData name="Louis-Guillaume Morand" userId="40ad395802f30fee" providerId="LiveId" clId="{FAD786C8-6F7E-43FC-B825-BB9FDAB99835}" dt="2019-11-19T17:04:17.184" v="2004" actId="478"/>
          <ac:spMkLst>
            <pc:docMk/>
            <pc:sldMk cId="2200105883" sldId="508"/>
            <ac:spMk id="13" creationId="{F247C384-6D42-47F3-9FA1-48CCFB52B11B}"/>
          </ac:spMkLst>
        </pc:spChg>
        <pc:picChg chg="add del mod">
          <ac:chgData name="Louis-Guillaume Morand" userId="40ad395802f30fee" providerId="LiveId" clId="{FAD786C8-6F7E-43FC-B825-BB9FDAB99835}" dt="2019-11-19T17:04:04.304" v="2000" actId="478"/>
          <ac:picMkLst>
            <pc:docMk/>
            <pc:sldMk cId="2200105883" sldId="508"/>
            <ac:picMk id="4" creationId="{34B61055-6277-419C-A9DD-ED0A0AF0FDAD}"/>
          </ac:picMkLst>
        </pc:picChg>
        <pc:picChg chg="add mod">
          <ac:chgData name="Louis-Guillaume Morand" userId="40ad395802f30fee" providerId="LiveId" clId="{FAD786C8-6F7E-43FC-B825-BB9FDAB99835}" dt="2019-11-19T17:51:41.046" v="2195" actId="14100"/>
          <ac:picMkLst>
            <pc:docMk/>
            <pc:sldMk cId="2200105883" sldId="508"/>
            <ac:picMk id="9" creationId="{C7B351B2-4443-4B52-9318-A111EDAC8FC4}"/>
          </ac:picMkLst>
        </pc:picChg>
        <pc:picChg chg="add del mod">
          <ac:chgData name="Louis-Guillaume Morand" userId="40ad395802f30fee" providerId="LiveId" clId="{FAD786C8-6F7E-43FC-B825-BB9FDAB99835}" dt="2019-11-19T17:04:15.010" v="2003" actId="478"/>
          <ac:picMkLst>
            <pc:docMk/>
            <pc:sldMk cId="2200105883" sldId="508"/>
            <ac:picMk id="11" creationId="{418DF6B2-FB89-4196-BC44-F8B076F7796E}"/>
          </ac:picMkLst>
        </pc:picChg>
        <pc:picChg chg="add mod">
          <ac:chgData name="Louis-Guillaume Morand" userId="40ad395802f30fee" providerId="LiveId" clId="{FAD786C8-6F7E-43FC-B825-BB9FDAB99835}" dt="2019-11-19T17:04:28.430" v="2009" actId="1076"/>
          <ac:picMkLst>
            <pc:docMk/>
            <pc:sldMk cId="2200105883" sldId="508"/>
            <ac:picMk id="15" creationId="{30261AB9-217C-4156-B7B8-C6FC57C44665}"/>
          </ac:picMkLst>
        </pc:picChg>
        <pc:cxnChg chg="add mod">
          <ac:chgData name="Louis-Guillaume Morand" userId="40ad395802f30fee" providerId="LiveId" clId="{FAD786C8-6F7E-43FC-B825-BB9FDAB99835}" dt="2019-11-19T09:48:32.064" v="1395" actId="1076"/>
          <ac:cxnSpMkLst>
            <pc:docMk/>
            <pc:sldMk cId="2200105883" sldId="508"/>
            <ac:cxnSpMk id="6" creationId="{8036C8C9-97CC-4291-8978-E885E89A1B42}"/>
          </ac:cxnSpMkLst>
        </pc:cxnChg>
      </pc:sldChg>
      <pc:sldChg chg="addSp delSp modSp add ord delAnim">
        <pc:chgData name="Louis-Guillaume Morand" userId="40ad395802f30fee" providerId="LiveId" clId="{FAD786C8-6F7E-43FC-B825-BB9FDAB99835}" dt="2019-11-20T10:43:25.673" v="2518" actId="20577"/>
        <pc:sldMkLst>
          <pc:docMk/>
          <pc:sldMk cId="2875845334" sldId="509"/>
        </pc:sldMkLst>
        <pc:spChg chg="add mod">
          <ac:chgData name="Louis-Guillaume Morand" userId="40ad395802f30fee" providerId="LiveId" clId="{FAD786C8-6F7E-43FC-B825-BB9FDAB99835}" dt="2019-11-19T09:49:59.968" v="1413" actId="478"/>
          <ac:spMkLst>
            <pc:docMk/>
            <pc:sldMk cId="2875845334" sldId="509"/>
            <ac:spMk id="3" creationId="{9B95FC0B-12A9-43C0-9599-55A5BF90F25C}"/>
          </ac:spMkLst>
        </pc:spChg>
        <pc:spChg chg="add mod">
          <ac:chgData name="Louis-Guillaume Morand" userId="40ad395802f30fee" providerId="LiveId" clId="{FAD786C8-6F7E-43FC-B825-BB9FDAB99835}" dt="2019-11-19T09:49:59.968" v="1413" actId="478"/>
          <ac:spMkLst>
            <pc:docMk/>
            <pc:sldMk cId="2875845334" sldId="509"/>
            <ac:spMk id="6" creationId="{1E19A4D3-099A-4D82-A016-0BF4C4E9BDCF}"/>
          </ac:spMkLst>
        </pc:spChg>
        <pc:spChg chg="mod">
          <ac:chgData name="Louis-Guillaume Morand" userId="40ad395802f30fee" providerId="LiveId" clId="{FAD786C8-6F7E-43FC-B825-BB9FDAB99835}" dt="2019-11-19T09:49:23.656" v="1407" actId="20577"/>
          <ac:spMkLst>
            <pc:docMk/>
            <pc:sldMk cId="2875845334" sldId="509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20T10:43:25.673" v="2518" actId="20577"/>
          <ac:spMkLst>
            <pc:docMk/>
            <pc:sldMk cId="2875845334" sldId="509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19T17:08:40.380" v="2016" actId="1076"/>
          <ac:spMkLst>
            <pc:docMk/>
            <pc:sldMk cId="2875845334" sldId="509"/>
            <ac:spMk id="13" creationId="{C48AEF56-A8A1-44BD-90A8-85EE300E7F66}"/>
          </ac:spMkLst>
        </pc:spChg>
        <pc:spChg chg="mod">
          <ac:chgData name="Louis-Guillaume Morand" userId="40ad395802f30fee" providerId="LiveId" clId="{FAD786C8-6F7E-43FC-B825-BB9FDAB99835}" dt="2019-11-19T17:13:28.163" v="2088" actId="20577"/>
          <ac:spMkLst>
            <pc:docMk/>
            <pc:sldMk cId="2875845334" sldId="509"/>
            <ac:spMk id="21" creationId="{37239F82-C484-4323-8CC0-DBF8AFD10116}"/>
          </ac:spMkLst>
        </pc:spChg>
        <pc:spChg chg="mod">
          <ac:chgData name="Louis-Guillaume Morand" userId="40ad395802f30fee" providerId="LiveId" clId="{FAD786C8-6F7E-43FC-B825-BB9FDAB99835}" dt="2019-11-20T09:56:27.636" v="2302" actId="20577"/>
          <ac:spMkLst>
            <pc:docMk/>
            <pc:sldMk cId="2875845334" sldId="509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20T10:42:58.404" v="2443" actId="478"/>
          <ac:spMkLst>
            <pc:docMk/>
            <pc:sldMk cId="2875845334" sldId="509"/>
            <ac:spMk id="23" creationId="{E593BE12-54CF-487B-B293-494F6E5D1B73}"/>
          </ac:spMkLst>
        </pc:sp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4" creationId="{C48A061B-323C-4072-B852-722E312B1750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7" creationId="{DFB7A706-F805-40FD-B699-15E126D18B89}"/>
          </ac:picMkLst>
        </pc:picChg>
        <pc:picChg chg="add mod">
          <ac:chgData name="Louis-Guillaume Morand" userId="40ad395802f30fee" providerId="LiveId" clId="{FAD786C8-6F7E-43FC-B825-BB9FDAB99835}" dt="2019-11-19T10:09:22.241" v="1460" actId="1076"/>
          <ac:picMkLst>
            <pc:docMk/>
            <pc:sldMk cId="2875845334" sldId="509"/>
            <ac:picMk id="11" creationId="{16743126-AC2D-40A7-90D1-131D97CE978E}"/>
          </ac:picMkLst>
        </pc:picChg>
        <pc:picChg chg="add mod">
          <ac:chgData name="Louis-Guillaume Morand" userId="40ad395802f30fee" providerId="LiveId" clId="{FAD786C8-6F7E-43FC-B825-BB9FDAB99835}" dt="2019-11-19T17:09:11.937" v="2020" actId="1076"/>
          <ac:picMkLst>
            <pc:docMk/>
            <pc:sldMk cId="2875845334" sldId="509"/>
            <ac:picMk id="12" creationId="{214B0EE1-16D8-4A0A-A353-942CA1212E00}"/>
          </ac:picMkLst>
        </pc:picChg>
        <pc:picChg chg="del">
          <ac:chgData name="Louis-Guillaume Morand" userId="40ad395802f30fee" providerId="LiveId" clId="{FAD786C8-6F7E-43FC-B825-BB9FDAB99835}" dt="2019-11-19T10:09:19.753" v="1459" actId="478"/>
          <ac:picMkLst>
            <pc:docMk/>
            <pc:sldMk cId="2875845334" sldId="509"/>
            <ac:picMk id="16" creationId="{CEE889CF-37C0-4889-9AE7-BAF32A685753}"/>
          </ac:picMkLst>
        </pc:picChg>
        <pc:picChg chg="del">
          <ac:chgData name="Louis-Guillaume Morand" userId="40ad395802f30fee" providerId="LiveId" clId="{FAD786C8-6F7E-43FC-B825-BB9FDAB99835}" dt="2019-11-19T17:09:09.226" v="2019" actId="478"/>
          <ac:picMkLst>
            <pc:docMk/>
            <pc:sldMk cId="2875845334" sldId="509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20T10:42:59.136" v="2444" actId="478"/>
          <ac:picMkLst>
            <pc:docMk/>
            <pc:sldMk cId="2875845334" sldId="509"/>
            <ac:picMk id="20" creationId="{BB18A6A5-5012-4DD7-8983-DA42E24E5C0A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25" creationId="{E683C839-C9C1-4CF4-BB9B-24978CD39289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27" creationId="{25193B22-E875-4989-83CE-D383F4D1E645}"/>
          </ac:picMkLst>
        </pc:picChg>
        <pc:picChg chg="del">
          <ac:chgData name="Louis-Guillaume Morand" userId="40ad395802f30fee" providerId="LiveId" clId="{FAD786C8-6F7E-43FC-B825-BB9FDAB99835}" dt="2019-11-19T09:49:30.358" v="1408" actId="478"/>
          <ac:picMkLst>
            <pc:docMk/>
            <pc:sldMk cId="2875845334" sldId="509"/>
            <ac:picMk id="29" creationId="{0C6B3DF1-BA61-422F-B48E-D38BEC26BA6A}"/>
          </ac:picMkLst>
        </pc:picChg>
        <pc:picChg chg="del">
          <ac:chgData name="Louis-Guillaume Morand" userId="40ad395802f30fee" providerId="LiveId" clId="{FAD786C8-6F7E-43FC-B825-BB9FDAB99835}" dt="2019-11-19T09:49:59.968" v="1413" actId="478"/>
          <ac:picMkLst>
            <pc:docMk/>
            <pc:sldMk cId="2875845334" sldId="509"/>
            <ac:picMk id="33" creationId="{1D47C2C5-623D-4022-9E5C-DA96D4E32487}"/>
          </ac:picMkLst>
        </pc:picChg>
        <pc:cxnChg chg="add mod">
          <ac:chgData name="Louis-Guillaume Morand" userId="40ad395802f30fee" providerId="LiveId" clId="{FAD786C8-6F7E-43FC-B825-BB9FDAB99835}" dt="2019-11-19T09:49:37.519" v="1410" actId="1076"/>
          <ac:cxnSpMkLst>
            <pc:docMk/>
            <pc:sldMk cId="2875845334" sldId="509"/>
            <ac:cxnSpMk id="24" creationId="{FB4E3537-50D6-4C25-879F-992180456C67}"/>
          </ac:cxnSpMkLst>
        </pc:cxnChg>
      </pc:sldChg>
      <pc:sldChg chg="addSp delSp modSp add ord">
        <pc:chgData name="Louis-Guillaume Morand" userId="40ad395802f30fee" providerId="LiveId" clId="{FAD786C8-6F7E-43FC-B825-BB9FDAB99835}" dt="2019-11-27T14:25:46.403" v="3049" actId="1076"/>
        <pc:sldMkLst>
          <pc:docMk/>
          <pc:sldMk cId="2141475018" sldId="510"/>
        </pc:sldMkLst>
        <pc:spChg chg="mod">
          <ac:chgData name="Louis-Guillaume Morand" userId="40ad395802f30fee" providerId="LiveId" clId="{FAD786C8-6F7E-43FC-B825-BB9FDAB99835}" dt="2019-11-19T10:08:31.930" v="1424" actId="20577"/>
          <ac:spMkLst>
            <pc:docMk/>
            <pc:sldMk cId="2141475018" sldId="510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27T14:20:41.533" v="2932" actId="20577"/>
          <ac:spMkLst>
            <pc:docMk/>
            <pc:sldMk cId="2141475018" sldId="510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27T14:21:19.180" v="2982" actId="20577"/>
          <ac:spMkLst>
            <pc:docMk/>
            <pc:sldMk cId="2141475018" sldId="510"/>
            <ac:spMk id="13" creationId="{C48AEF56-A8A1-44BD-90A8-85EE300E7F66}"/>
          </ac:spMkLst>
        </pc:spChg>
        <pc:spChg chg="add mod">
          <ac:chgData name="Louis-Guillaume Morand" userId="40ad395802f30fee" providerId="LiveId" clId="{FAD786C8-6F7E-43FC-B825-BB9FDAB99835}" dt="2019-11-27T14:25:28.381" v="3046" actId="20577"/>
          <ac:spMkLst>
            <pc:docMk/>
            <pc:sldMk cId="2141475018" sldId="510"/>
            <ac:spMk id="19" creationId="{B725A27E-DAFB-4D7F-A6CF-0D04C6E0BCE3}"/>
          </ac:spMkLst>
        </pc:spChg>
        <pc:spChg chg="del">
          <ac:chgData name="Louis-Guillaume Morand" userId="40ad395802f30fee" providerId="LiveId" clId="{FAD786C8-6F7E-43FC-B825-BB9FDAB99835}" dt="2019-11-27T14:21:43.741" v="2987" actId="478"/>
          <ac:spMkLst>
            <pc:docMk/>
            <pc:sldMk cId="2141475018" sldId="510"/>
            <ac:spMk id="21" creationId="{37239F82-C484-4323-8CC0-DBF8AFD10116}"/>
          </ac:spMkLst>
        </pc:spChg>
        <pc:spChg chg="del">
          <ac:chgData name="Louis-Guillaume Morand" userId="40ad395802f30fee" providerId="LiveId" clId="{FAD786C8-6F7E-43FC-B825-BB9FDAB99835}" dt="2019-11-21T14:21:01.099" v="2557" actId="478"/>
          <ac:spMkLst>
            <pc:docMk/>
            <pc:sldMk cId="2141475018" sldId="510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21T14:21:02.490" v="2558" actId="478"/>
          <ac:spMkLst>
            <pc:docMk/>
            <pc:sldMk cId="2141475018" sldId="510"/>
            <ac:spMk id="23" creationId="{E593BE12-54CF-487B-B293-494F6E5D1B73}"/>
          </ac:spMkLst>
        </pc:spChg>
        <pc:spChg chg="add mod">
          <ac:chgData name="Louis-Guillaume Morand" userId="40ad395802f30fee" providerId="LiveId" clId="{FAD786C8-6F7E-43FC-B825-BB9FDAB99835}" dt="2019-11-27T14:22:08.819" v="2991" actId="1076"/>
          <ac:spMkLst>
            <pc:docMk/>
            <pc:sldMk cId="2141475018" sldId="510"/>
            <ac:spMk id="25" creationId="{C4317BD1-2260-47E2-90D7-BEB900BEE4BA}"/>
          </ac:spMkLst>
        </pc:spChg>
        <pc:picChg chg="add mod">
          <ac:chgData name="Louis-Guillaume Morand" userId="40ad395802f30fee" providerId="LiveId" clId="{FAD786C8-6F7E-43FC-B825-BB9FDAB99835}" dt="2019-11-27T14:21:50.043" v="2989" actId="1076"/>
          <ac:picMkLst>
            <pc:docMk/>
            <pc:sldMk cId="2141475018" sldId="510"/>
            <ac:picMk id="2" creationId="{C66210AC-5E40-48F6-8F05-EAC1BA1EB55B}"/>
          </ac:picMkLst>
        </pc:picChg>
        <pc:picChg chg="add mod">
          <ac:chgData name="Louis-Guillaume Morand" userId="40ad395802f30fee" providerId="LiveId" clId="{FAD786C8-6F7E-43FC-B825-BB9FDAB99835}" dt="2019-11-27T14:21:41.003" v="2986" actId="1076"/>
          <ac:picMkLst>
            <pc:docMk/>
            <pc:sldMk cId="2141475018" sldId="510"/>
            <ac:picMk id="4" creationId="{55DCE735-8D1F-4CCC-9321-79D5C6564905}"/>
          </ac:picMkLst>
        </pc:picChg>
        <pc:picChg chg="add mod">
          <ac:chgData name="Louis-Guillaume Morand" userId="40ad395802f30fee" providerId="LiveId" clId="{FAD786C8-6F7E-43FC-B825-BB9FDAB99835}" dt="2019-11-27T14:25:46.403" v="3049" actId="1076"/>
          <ac:picMkLst>
            <pc:docMk/>
            <pc:sldMk cId="2141475018" sldId="510"/>
            <ac:picMk id="5" creationId="{9DA5564B-49CE-4D5C-B18F-EF7AFD3257E1}"/>
          </ac:picMkLst>
        </pc:picChg>
        <pc:picChg chg="del">
          <ac:chgData name="Louis-Guillaume Morand" userId="40ad395802f30fee" providerId="LiveId" clId="{FAD786C8-6F7E-43FC-B825-BB9FDAB99835}" dt="2019-11-27T14:21:35.565" v="2983" actId="478"/>
          <ac:picMkLst>
            <pc:docMk/>
            <pc:sldMk cId="2141475018" sldId="510"/>
            <ac:picMk id="16" creationId="{CEE889CF-37C0-4889-9AE7-BAF32A685753}"/>
          </ac:picMkLst>
        </pc:picChg>
        <pc:picChg chg="del">
          <ac:chgData name="Louis-Guillaume Morand" userId="40ad395802f30fee" providerId="LiveId" clId="{FAD786C8-6F7E-43FC-B825-BB9FDAB99835}" dt="2019-11-27T14:21:44.331" v="2988" actId="478"/>
          <ac:picMkLst>
            <pc:docMk/>
            <pc:sldMk cId="2141475018" sldId="510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21T14:20:59.994" v="2556" actId="478"/>
          <ac:picMkLst>
            <pc:docMk/>
            <pc:sldMk cId="2141475018" sldId="510"/>
            <ac:picMk id="19" creationId="{12AC793B-08F5-42FC-8643-77CC6BC1AD81}"/>
          </ac:picMkLst>
        </pc:picChg>
        <pc:picChg chg="del">
          <ac:chgData name="Louis-Guillaume Morand" userId="40ad395802f30fee" providerId="LiveId" clId="{FAD786C8-6F7E-43FC-B825-BB9FDAB99835}" dt="2019-11-21T14:20:59.372" v="2555" actId="478"/>
          <ac:picMkLst>
            <pc:docMk/>
            <pc:sldMk cId="2141475018" sldId="510"/>
            <ac:picMk id="20" creationId="{BB18A6A5-5012-4DD7-8983-DA42E24E5C0A}"/>
          </ac:picMkLst>
        </pc:picChg>
      </pc:sldChg>
      <pc:sldChg chg="addSp delSp modSp add ord">
        <pc:chgData name="Louis-Guillaume Morand" userId="40ad395802f30fee" providerId="LiveId" clId="{FAD786C8-6F7E-43FC-B825-BB9FDAB99835}" dt="2019-11-20T10:42:54.837" v="2442" actId="478"/>
        <pc:sldMkLst>
          <pc:docMk/>
          <pc:sldMk cId="1993532593" sldId="511"/>
        </pc:sldMkLst>
        <pc:spChg chg="del">
          <ac:chgData name="Louis-Guillaume Morand" userId="40ad395802f30fee" providerId="LiveId" clId="{FAD786C8-6F7E-43FC-B825-BB9FDAB99835}" dt="2019-11-19T10:17:36.867" v="1803" actId="931"/>
          <ac:spMkLst>
            <pc:docMk/>
            <pc:sldMk cId="1993532593" sldId="511"/>
            <ac:spMk id="3" creationId="{9B95FC0B-12A9-43C0-9599-55A5BF90F25C}"/>
          </ac:spMkLst>
        </pc:spChg>
        <pc:spChg chg="del">
          <ac:chgData name="Louis-Guillaume Morand" userId="40ad395802f30fee" providerId="LiveId" clId="{FAD786C8-6F7E-43FC-B825-BB9FDAB99835}" dt="2019-11-19T10:13:27.379" v="1646" actId="931"/>
          <ac:spMkLst>
            <pc:docMk/>
            <pc:sldMk cId="1993532593" sldId="511"/>
            <ac:spMk id="6" creationId="{1E19A4D3-099A-4D82-A016-0BF4C4E9BDCF}"/>
          </ac:spMkLst>
        </pc:spChg>
        <pc:spChg chg="mod">
          <ac:chgData name="Louis-Guillaume Morand" userId="40ad395802f30fee" providerId="LiveId" clId="{FAD786C8-6F7E-43FC-B825-BB9FDAB99835}" dt="2019-11-19T10:10:17.194" v="1573" actId="20577"/>
          <ac:spMkLst>
            <pc:docMk/>
            <pc:sldMk cId="1993532593" sldId="511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19T10:16:21.538" v="1800" actId="20577"/>
          <ac:spMkLst>
            <pc:docMk/>
            <pc:sldMk cId="1993532593" sldId="511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19T17:14:01.991" v="2090" actId="207"/>
          <ac:spMkLst>
            <pc:docMk/>
            <pc:sldMk cId="1993532593" sldId="511"/>
            <ac:spMk id="13" creationId="{C48AEF56-A8A1-44BD-90A8-85EE300E7F66}"/>
          </ac:spMkLst>
        </pc:spChg>
        <pc:spChg chg="mod">
          <ac:chgData name="Louis-Guillaume Morand" userId="40ad395802f30fee" providerId="LiveId" clId="{FAD786C8-6F7E-43FC-B825-BB9FDAB99835}" dt="2019-11-19T21:55:56.714" v="2215" actId="20577"/>
          <ac:spMkLst>
            <pc:docMk/>
            <pc:sldMk cId="1993532593" sldId="511"/>
            <ac:spMk id="21" creationId="{37239F82-C484-4323-8CC0-DBF8AFD10116}"/>
          </ac:spMkLst>
        </pc:spChg>
        <pc:spChg chg="mod">
          <ac:chgData name="Louis-Guillaume Morand" userId="40ad395802f30fee" providerId="LiveId" clId="{FAD786C8-6F7E-43FC-B825-BB9FDAB99835}" dt="2019-11-20T10:23:03.652" v="2440" actId="207"/>
          <ac:spMkLst>
            <pc:docMk/>
            <pc:sldMk cId="1993532593" sldId="511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20T10:42:54.185" v="2441" actId="478"/>
          <ac:spMkLst>
            <pc:docMk/>
            <pc:sldMk cId="1993532593" sldId="511"/>
            <ac:spMk id="23" creationId="{E593BE12-54CF-487B-B293-494F6E5D1B73}"/>
          </ac:spMkLst>
        </pc:spChg>
        <pc:picChg chg="add mod">
          <ac:chgData name="Louis-Guillaume Morand" userId="40ad395802f30fee" providerId="LiveId" clId="{FAD786C8-6F7E-43FC-B825-BB9FDAB99835}" dt="2019-11-19T10:11:33.142" v="1596" actId="1076"/>
          <ac:picMkLst>
            <pc:docMk/>
            <pc:sldMk cId="1993532593" sldId="511"/>
            <ac:picMk id="2" creationId="{7A7C2A1D-5070-40CC-8B48-D0F15C7A82B7}"/>
          </ac:picMkLst>
        </pc:picChg>
        <pc:picChg chg="add mod">
          <ac:chgData name="Louis-Guillaume Morand" userId="40ad395802f30fee" providerId="LiveId" clId="{FAD786C8-6F7E-43FC-B825-BB9FDAB99835}" dt="2019-11-19T10:13:43.050" v="1653" actId="1440"/>
          <ac:picMkLst>
            <pc:docMk/>
            <pc:sldMk cId="1993532593" sldId="511"/>
            <ac:picMk id="5" creationId="{E9F430E8-9630-40BA-9B57-B960F7D99FA1}"/>
          </ac:picMkLst>
        </pc:picChg>
        <pc:picChg chg="add mod modCrop">
          <ac:chgData name="Louis-Guillaume Morand" userId="40ad395802f30fee" providerId="LiveId" clId="{FAD786C8-6F7E-43FC-B825-BB9FDAB99835}" dt="2019-11-19T10:18:16.801" v="1869" actId="1440"/>
          <ac:picMkLst>
            <pc:docMk/>
            <pc:sldMk cId="1993532593" sldId="511"/>
            <ac:picMk id="11" creationId="{BEA3D6C8-6DD6-44CF-92C6-5E29473B2933}"/>
          </ac:picMkLst>
        </pc:picChg>
        <pc:picChg chg="del">
          <ac:chgData name="Louis-Guillaume Morand" userId="40ad395802f30fee" providerId="LiveId" clId="{FAD786C8-6F7E-43FC-B825-BB9FDAB99835}" dt="2019-11-19T10:11:30.502" v="1595" actId="478"/>
          <ac:picMkLst>
            <pc:docMk/>
            <pc:sldMk cId="1993532593" sldId="511"/>
            <ac:picMk id="18" creationId="{5665EFDA-ABF0-411E-BF2E-235E240A3394}"/>
          </ac:picMkLst>
        </pc:picChg>
        <pc:picChg chg="del">
          <ac:chgData name="Louis-Guillaume Morand" userId="40ad395802f30fee" providerId="LiveId" clId="{FAD786C8-6F7E-43FC-B825-BB9FDAB99835}" dt="2019-11-20T10:42:54.837" v="2442" actId="478"/>
          <ac:picMkLst>
            <pc:docMk/>
            <pc:sldMk cId="1993532593" sldId="511"/>
            <ac:picMk id="20" creationId="{BB18A6A5-5012-4DD7-8983-DA42E24E5C0A}"/>
          </ac:picMkLst>
        </pc:picChg>
      </pc:sldChg>
      <pc:sldChg chg="add del">
        <pc:chgData name="Louis-Guillaume Morand" userId="40ad395802f30fee" providerId="LiveId" clId="{FAD786C8-6F7E-43FC-B825-BB9FDAB99835}" dt="2019-11-20T14:36:01.432" v="2545" actId="2696"/>
        <pc:sldMkLst>
          <pc:docMk/>
          <pc:sldMk cId="4121876906" sldId="512"/>
        </pc:sldMkLst>
      </pc:sldChg>
      <pc:sldChg chg="addSp delSp modSp add mod setBg">
        <pc:chgData name="Louis-Guillaume Morand" userId="40ad395802f30fee" providerId="LiveId" clId="{FAD786C8-6F7E-43FC-B825-BB9FDAB99835}" dt="2019-11-19T17:05:54.909" v="2014" actId="14100"/>
        <pc:sldMkLst>
          <pc:docMk/>
          <pc:sldMk cId="2330928857" sldId="513"/>
        </pc:sldMkLst>
        <pc:spChg chg="add del mod">
          <ac:chgData name="Louis-Guillaume Morand" userId="40ad395802f30fee" providerId="LiveId" clId="{FAD786C8-6F7E-43FC-B825-BB9FDAB99835}" dt="2019-11-19T10:51:16.084" v="1889" actId="478"/>
          <ac:spMkLst>
            <pc:docMk/>
            <pc:sldMk cId="2330928857" sldId="513"/>
            <ac:spMk id="2" creationId="{D7C55621-0384-4F19-9E9A-5AA7B66748E5}"/>
          </ac:spMkLst>
        </pc:spChg>
        <pc:spChg chg="del">
          <ac:chgData name="Louis-Guillaume Morand" userId="40ad395802f30fee" providerId="LiveId" clId="{FAD786C8-6F7E-43FC-B825-BB9FDAB99835}" dt="2019-11-19T10:45:16.980" v="1873" actId="478"/>
          <ac:spMkLst>
            <pc:docMk/>
            <pc:sldMk cId="2330928857" sldId="513"/>
            <ac:spMk id="3" creationId="{9B95FC0B-12A9-43C0-9599-55A5BF90F25C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6" creationId="{1E19A4D3-099A-4D82-A016-0BF4C4E9BDCF}"/>
          </ac:spMkLst>
        </pc:spChg>
        <pc:spChg chg="del mod">
          <ac:chgData name="Louis-Guillaume Morand" userId="40ad395802f30fee" providerId="LiveId" clId="{FAD786C8-6F7E-43FC-B825-BB9FDAB99835}" dt="2019-11-19T10:51:31.244" v="1893" actId="478"/>
          <ac:spMkLst>
            <pc:docMk/>
            <pc:sldMk cId="2330928857" sldId="513"/>
            <ac:spMk id="8" creationId="{0CCF3949-E3E2-4C6A-A7F2-11DE71D5FDDA}"/>
          </ac:spMkLst>
        </pc:spChg>
        <pc:spChg chg="del">
          <ac:chgData name="Louis-Guillaume Morand" userId="40ad395802f30fee" providerId="LiveId" clId="{FAD786C8-6F7E-43FC-B825-BB9FDAB99835}" dt="2019-11-19T10:45:20.323" v="1874" actId="478"/>
          <ac:spMkLst>
            <pc:docMk/>
            <pc:sldMk cId="2330928857" sldId="513"/>
            <ac:spMk id="9" creationId="{494F4D64-01FC-4189-A7B9-BE2C6D3B1620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10" creationId="{BD69E8AA-7AC5-4D92-A872-813344D9482D}"/>
          </ac:spMkLst>
        </pc:spChg>
        <pc:spChg chg="add del">
          <ac:chgData name="Louis-Guillaume Morand" userId="40ad395802f30fee" providerId="LiveId" clId="{FAD786C8-6F7E-43FC-B825-BB9FDAB99835}" dt="2019-11-19T11:02:51.458" v="1897" actId="26606"/>
          <ac:spMkLst>
            <pc:docMk/>
            <pc:sldMk cId="2330928857" sldId="513"/>
            <ac:spMk id="12" creationId="{B1193618-4E25-4CA2-A90E-01462093F1C5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13" creationId="{C48AEF56-A8A1-44BD-90A8-85EE300E7F66}"/>
          </ac:spMkLst>
        </pc:spChg>
        <pc:spChg chg="add del">
          <ac:chgData name="Louis-Guillaume Morand" userId="40ad395802f30fee" providerId="LiveId" clId="{FAD786C8-6F7E-43FC-B825-BB9FDAB99835}" dt="2019-11-19T11:02:52.498" v="1899" actId="26606"/>
          <ac:spMkLst>
            <pc:docMk/>
            <pc:sldMk cId="2330928857" sldId="513"/>
            <ac:spMk id="14" creationId="{56065185-5C34-4F86-AA96-AA4D065B0EF4}"/>
          </ac:spMkLst>
        </pc:spChg>
        <pc:spChg chg="add del">
          <ac:chgData name="Louis-Guillaume Morand" userId="40ad395802f30fee" providerId="LiveId" clId="{FAD786C8-6F7E-43FC-B825-BB9FDAB99835}" dt="2019-11-19T11:02:52.498" v="1899" actId="26606"/>
          <ac:spMkLst>
            <pc:docMk/>
            <pc:sldMk cId="2330928857" sldId="513"/>
            <ac:spMk id="15" creationId="{C83A5C14-ED91-4CD1-809E-D29FF97C9AF5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21" creationId="{37239F82-C484-4323-8CC0-DBF8AFD10116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22" creationId="{97D14F86-BF12-4B2C-834D-3455401A5D8D}"/>
          </ac:spMkLst>
        </pc:spChg>
        <pc:spChg chg="del">
          <ac:chgData name="Louis-Guillaume Morand" userId="40ad395802f30fee" providerId="LiveId" clId="{FAD786C8-6F7E-43FC-B825-BB9FDAB99835}" dt="2019-11-19T10:45:15.392" v="1872" actId="478"/>
          <ac:spMkLst>
            <pc:docMk/>
            <pc:sldMk cId="2330928857" sldId="513"/>
            <ac:spMk id="23" creationId="{E593BE12-54CF-487B-B293-494F6E5D1B73}"/>
          </ac:spMkLst>
        </pc:spChg>
        <pc:spChg chg="add del">
          <ac:chgData name="Louis-Guillaume Morand" userId="40ad395802f30fee" providerId="LiveId" clId="{FAD786C8-6F7E-43FC-B825-BB9FDAB99835}" dt="2019-11-19T11:02:53.497" v="1901" actId="26606"/>
          <ac:spMkLst>
            <pc:docMk/>
            <pc:sldMk cId="2330928857" sldId="513"/>
            <ac:spMk id="25" creationId="{693B08FD-5ECC-4728-AA84-CD6AC875BF8E}"/>
          </ac:spMkLst>
        </pc:spChg>
        <pc:spChg chg="add del">
          <ac:chgData name="Louis-Guillaume Morand" userId="40ad395802f30fee" providerId="LiveId" clId="{FAD786C8-6F7E-43FC-B825-BB9FDAB99835}" dt="2019-11-19T11:02:53.497" v="1901" actId="26606"/>
          <ac:spMkLst>
            <pc:docMk/>
            <pc:sldMk cId="2330928857" sldId="513"/>
            <ac:spMk id="26" creationId="{2549107E-EC98-4933-8F8F-A1713C393B7E}"/>
          </ac:spMkLst>
        </pc:spChg>
        <pc:picChg chg="add del mod">
          <ac:chgData name="Louis-Guillaume Morand" userId="40ad395802f30fee" providerId="LiveId" clId="{FAD786C8-6F7E-43FC-B825-BB9FDAB99835}" dt="2019-11-19T10:53:00.998" v="1894" actId="478"/>
          <ac:picMkLst>
            <pc:docMk/>
            <pc:sldMk cId="2330928857" sldId="513"/>
            <ac:picMk id="5" creationId="{A1A0BE58-3D2B-4ECD-8FF0-DCE726E86F4E}"/>
          </ac:picMkLst>
        </pc:picChg>
        <pc:picChg chg="add del mod">
          <ac:chgData name="Louis-Guillaume Morand" userId="40ad395802f30fee" providerId="LiveId" clId="{FAD786C8-6F7E-43FC-B825-BB9FDAB99835}" dt="2019-11-19T17:05:44.775" v="2010" actId="478"/>
          <ac:picMkLst>
            <pc:docMk/>
            <pc:sldMk cId="2330928857" sldId="513"/>
            <ac:picMk id="7" creationId="{60726341-1452-4D4D-B2AD-92C8FE201F1C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1" creationId="{16743126-AC2D-40A7-90D1-131D97CE978E}"/>
          </ac:picMkLst>
        </pc:picChg>
        <pc:picChg chg="add mod">
          <ac:chgData name="Louis-Guillaume Morand" userId="40ad395802f30fee" providerId="LiveId" clId="{FAD786C8-6F7E-43FC-B825-BB9FDAB99835}" dt="2019-11-19T17:05:54.909" v="2014" actId="14100"/>
          <ac:picMkLst>
            <pc:docMk/>
            <pc:sldMk cId="2330928857" sldId="513"/>
            <ac:picMk id="16" creationId="{0E0C4001-842A-4F35-B51A-F2A6EA08447F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8" creationId="{5665EFDA-ABF0-411E-BF2E-235E240A3394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19" creationId="{12AC793B-08F5-42FC-8643-77CC6BC1AD81}"/>
          </ac:picMkLst>
        </pc:picChg>
        <pc:picChg chg="del">
          <ac:chgData name="Louis-Guillaume Morand" userId="40ad395802f30fee" providerId="LiveId" clId="{FAD786C8-6F7E-43FC-B825-BB9FDAB99835}" dt="2019-11-19T10:45:15.392" v="1872" actId="478"/>
          <ac:picMkLst>
            <pc:docMk/>
            <pc:sldMk cId="2330928857" sldId="513"/>
            <ac:picMk id="20" creationId="{BB18A6A5-5012-4DD7-8983-DA42E24E5C0A}"/>
          </ac:picMkLst>
        </pc:picChg>
        <pc:cxnChg chg="del">
          <ac:chgData name="Louis-Guillaume Morand" userId="40ad395802f30fee" providerId="LiveId" clId="{FAD786C8-6F7E-43FC-B825-BB9FDAB99835}" dt="2019-11-19T10:51:29.948" v="1892" actId="478"/>
          <ac:cxnSpMkLst>
            <pc:docMk/>
            <pc:sldMk cId="2330928857" sldId="513"/>
            <ac:cxnSpMk id="24" creationId="{FB4E3537-50D6-4C25-879F-992180456C67}"/>
          </ac:cxnSpMkLst>
        </pc:cxnChg>
      </pc:sldChg>
      <pc:sldChg chg="addSp delSp modSp add">
        <pc:chgData name="Louis-Guillaume Morand" userId="40ad395802f30fee" providerId="LiveId" clId="{FAD786C8-6F7E-43FC-B825-BB9FDAB99835}" dt="2019-11-27T14:32:44.347" v="3291" actId="1076"/>
        <pc:sldMkLst>
          <pc:docMk/>
          <pc:sldMk cId="2299392105" sldId="514"/>
        </pc:sldMkLst>
        <pc:spChg chg="mod">
          <ac:chgData name="Louis-Guillaume Morand" userId="40ad395802f30fee" providerId="LiveId" clId="{FAD786C8-6F7E-43FC-B825-BB9FDAB99835}" dt="2019-11-20T08:58:52.362" v="2225" actId="20577"/>
          <ac:spMkLst>
            <pc:docMk/>
            <pc:sldMk cId="2299392105" sldId="514"/>
            <ac:spMk id="8" creationId="{0CCF3949-E3E2-4C6A-A7F2-11DE71D5FDDA}"/>
          </ac:spMkLst>
        </pc:spChg>
        <pc:spChg chg="mod">
          <ac:chgData name="Louis-Guillaume Morand" userId="40ad395802f30fee" providerId="LiveId" clId="{FAD786C8-6F7E-43FC-B825-BB9FDAB99835}" dt="2019-11-21T14:27:02.437" v="2870" actId="20577"/>
          <ac:spMkLst>
            <pc:docMk/>
            <pc:sldMk cId="2299392105" sldId="514"/>
            <ac:spMk id="9" creationId="{494F4D64-01FC-4189-A7B9-BE2C6D3B1620}"/>
          </ac:spMkLst>
        </pc:spChg>
        <pc:spChg chg="mod">
          <ac:chgData name="Louis-Guillaume Morand" userId="40ad395802f30fee" providerId="LiveId" clId="{FAD786C8-6F7E-43FC-B825-BB9FDAB99835}" dt="2019-11-27T14:27:15.301" v="3060" actId="20577"/>
          <ac:spMkLst>
            <pc:docMk/>
            <pc:sldMk cId="2299392105" sldId="514"/>
            <ac:spMk id="10" creationId="{BD69E8AA-7AC5-4D92-A872-813344D9482D}"/>
          </ac:spMkLst>
        </pc:spChg>
        <pc:spChg chg="mod">
          <ac:chgData name="Louis-Guillaume Morand" userId="40ad395802f30fee" providerId="LiveId" clId="{FAD786C8-6F7E-43FC-B825-BB9FDAB99835}" dt="2019-11-27T14:27:42.500" v="3083" actId="20577"/>
          <ac:spMkLst>
            <pc:docMk/>
            <pc:sldMk cId="2299392105" sldId="514"/>
            <ac:spMk id="13" creationId="{C48AEF56-A8A1-44BD-90A8-85EE300E7F66}"/>
          </ac:spMkLst>
        </pc:spChg>
        <pc:spChg chg="mod">
          <ac:chgData name="Louis-Guillaume Morand" userId="40ad395802f30fee" providerId="LiveId" clId="{FAD786C8-6F7E-43FC-B825-BB9FDAB99835}" dt="2019-11-27T14:28:38.493" v="3109" actId="20577"/>
          <ac:spMkLst>
            <pc:docMk/>
            <pc:sldMk cId="2299392105" sldId="514"/>
            <ac:spMk id="21" creationId="{37239F82-C484-4323-8CC0-DBF8AFD10116}"/>
          </ac:spMkLst>
        </pc:spChg>
        <pc:spChg chg="mod">
          <ac:chgData name="Louis-Guillaume Morand" userId="40ad395802f30fee" providerId="LiveId" clId="{FAD786C8-6F7E-43FC-B825-BB9FDAB99835}" dt="2019-11-27T14:29:25.645" v="3128" actId="20577"/>
          <ac:spMkLst>
            <pc:docMk/>
            <pc:sldMk cId="2299392105" sldId="514"/>
            <ac:spMk id="22" creationId="{97D14F86-BF12-4B2C-834D-3455401A5D8D}"/>
          </ac:spMkLst>
        </pc:spChg>
        <pc:spChg chg="mod">
          <ac:chgData name="Louis-Guillaume Morand" userId="40ad395802f30fee" providerId="LiveId" clId="{FAD786C8-6F7E-43FC-B825-BB9FDAB99835}" dt="2019-11-27T14:30:00.652" v="3199" actId="1076"/>
          <ac:spMkLst>
            <pc:docMk/>
            <pc:sldMk cId="2299392105" sldId="514"/>
            <ac:spMk id="23" creationId="{E593BE12-54CF-487B-B293-494F6E5D1B73}"/>
          </ac:spMkLst>
        </pc:spChg>
        <pc:spChg chg="add mod">
          <ac:chgData name="Louis-Guillaume Morand" userId="40ad395802f30fee" providerId="LiveId" clId="{FAD786C8-6F7E-43FC-B825-BB9FDAB99835}" dt="2019-11-27T14:30:30.101" v="3271" actId="20577"/>
          <ac:spMkLst>
            <pc:docMk/>
            <pc:sldMk cId="2299392105" sldId="514"/>
            <ac:spMk id="25" creationId="{46B06814-98CF-41A5-B1E9-0C775180A865}"/>
          </ac:spMkLst>
        </pc:spChg>
        <pc:picChg chg="add mod">
          <ac:chgData name="Louis-Guillaume Morand" userId="40ad395802f30fee" providerId="LiveId" clId="{FAD786C8-6F7E-43FC-B825-BB9FDAB99835}" dt="2019-11-27T14:31:17.084" v="3275" actId="1076"/>
          <ac:picMkLst>
            <pc:docMk/>
            <pc:sldMk cId="2299392105" sldId="514"/>
            <ac:picMk id="2" creationId="{C3C4CD56-B330-46E6-BC39-CC89FFD020F2}"/>
          </ac:picMkLst>
        </pc:picChg>
        <pc:picChg chg="add mod">
          <ac:chgData name="Louis-Guillaume Morand" userId="40ad395802f30fee" providerId="LiveId" clId="{FAD786C8-6F7E-43FC-B825-BB9FDAB99835}" dt="2019-11-27T14:31:36.509" v="3279" actId="1076"/>
          <ac:picMkLst>
            <pc:docMk/>
            <pc:sldMk cId="2299392105" sldId="514"/>
            <ac:picMk id="4" creationId="{7C350F59-C4F1-46DF-BE52-1B4F349BD7BD}"/>
          </ac:picMkLst>
        </pc:picChg>
        <pc:picChg chg="add mod">
          <ac:chgData name="Louis-Guillaume Morand" userId="40ad395802f30fee" providerId="LiveId" clId="{FAD786C8-6F7E-43FC-B825-BB9FDAB99835}" dt="2019-11-27T14:31:51.323" v="3283" actId="1076"/>
          <ac:picMkLst>
            <pc:docMk/>
            <pc:sldMk cId="2299392105" sldId="514"/>
            <ac:picMk id="5" creationId="{7A90077E-A04B-4633-9A97-1E900AF5B5C8}"/>
          </ac:picMkLst>
        </pc:picChg>
        <pc:picChg chg="add mod">
          <ac:chgData name="Louis-Guillaume Morand" userId="40ad395802f30fee" providerId="LiveId" clId="{FAD786C8-6F7E-43FC-B825-BB9FDAB99835}" dt="2019-11-27T14:32:16.420" v="3287" actId="1076"/>
          <ac:picMkLst>
            <pc:docMk/>
            <pc:sldMk cId="2299392105" sldId="514"/>
            <ac:picMk id="7" creationId="{403C099B-0CC5-45DB-9F84-5AA887D38F34}"/>
          </ac:picMkLst>
        </pc:picChg>
        <pc:picChg chg="add mod">
          <ac:chgData name="Louis-Guillaume Morand" userId="40ad395802f30fee" providerId="LiveId" clId="{FAD786C8-6F7E-43FC-B825-BB9FDAB99835}" dt="2019-11-27T14:32:44.347" v="3291" actId="1076"/>
          <ac:picMkLst>
            <pc:docMk/>
            <pc:sldMk cId="2299392105" sldId="514"/>
            <ac:picMk id="11" creationId="{15ED8A94-3C22-448C-9087-8B2C41471B0C}"/>
          </ac:picMkLst>
        </pc:picChg>
        <pc:picChg chg="del">
          <ac:chgData name="Louis-Guillaume Morand" userId="40ad395802f30fee" providerId="LiveId" clId="{FAD786C8-6F7E-43FC-B825-BB9FDAB99835}" dt="2019-11-27T14:31:31.542" v="3276" actId="478"/>
          <ac:picMkLst>
            <pc:docMk/>
            <pc:sldMk cId="2299392105" sldId="514"/>
            <ac:picMk id="16" creationId="{CEE889CF-37C0-4889-9AE7-BAF32A685753}"/>
          </ac:picMkLst>
        </pc:picChg>
        <pc:picChg chg="del">
          <ac:chgData name="Louis-Guillaume Morand" userId="40ad395802f30fee" providerId="LiveId" clId="{FAD786C8-6F7E-43FC-B825-BB9FDAB99835}" dt="2019-11-27T14:31:46.957" v="3280" actId="478"/>
          <ac:picMkLst>
            <pc:docMk/>
            <pc:sldMk cId="2299392105" sldId="514"/>
            <ac:picMk id="17" creationId="{BC433B88-A287-4873-89E0-7097F29E6DB2}"/>
          </ac:picMkLst>
        </pc:picChg>
        <pc:picChg chg="del">
          <ac:chgData name="Louis-Guillaume Morand" userId="40ad395802f30fee" providerId="LiveId" clId="{FAD786C8-6F7E-43FC-B825-BB9FDAB99835}" dt="2019-11-27T14:31:11.557" v="3272" actId="478"/>
          <ac:picMkLst>
            <pc:docMk/>
            <pc:sldMk cId="2299392105" sldId="514"/>
            <ac:picMk id="18" creationId="{5665EFDA-ABF0-411E-BF2E-235E240A3394}"/>
          </ac:picMkLst>
        </pc:picChg>
        <pc:picChg chg="del">
          <ac:chgData name="Louis-Guillaume Morand" userId="40ad395802f30fee" providerId="LiveId" clId="{FAD786C8-6F7E-43FC-B825-BB9FDAB99835}" dt="2019-11-27T14:32:11.550" v="3284" actId="478"/>
          <ac:picMkLst>
            <pc:docMk/>
            <pc:sldMk cId="2299392105" sldId="514"/>
            <ac:picMk id="19" creationId="{12AC793B-08F5-42FC-8643-77CC6BC1AD81}"/>
          </ac:picMkLst>
        </pc:picChg>
        <pc:picChg chg="mod">
          <ac:chgData name="Louis-Guillaume Morand" userId="40ad395802f30fee" providerId="LiveId" clId="{FAD786C8-6F7E-43FC-B825-BB9FDAB99835}" dt="2019-11-27T14:32:21.140" v="3288" actId="1076"/>
          <ac:picMkLst>
            <pc:docMk/>
            <pc:sldMk cId="2299392105" sldId="514"/>
            <ac:picMk id="20" creationId="{BB18A6A5-5012-4DD7-8983-DA42E24E5C0A}"/>
          </ac:picMkLst>
        </pc:picChg>
      </pc:sldChg>
      <pc:sldChg chg="modSp add">
        <pc:chgData name="Louis-Guillaume Morand" userId="40ad395802f30fee" providerId="LiveId" clId="{FAD786C8-6F7E-43FC-B825-BB9FDAB99835}" dt="2019-11-20T10:10:31.207" v="2331" actId="20577"/>
        <pc:sldMkLst>
          <pc:docMk/>
          <pc:sldMk cId="3652341004" sldId="515"/>
        </pc:sldMkLst>
        <pc:spChg chg="mod">
          <ac:chgData name="Louis-Guillaume Morand" userId="40ad395802f30fee" providerId="LiveId" clId="{FAD786C8-6F7E-43FC-B825-BB9FDAB99835}" dt="2019-11-20T10:10:31.207" v="2331" actId="20577"/>
          <ac:spMkLst>
            <pc:docMk/>
            <pc:sldMk cId="3652341004" sldId="515"/>
            <ac:spMk id="3" creationId="{D5F1FBDC-5EA2-4646-8BE1-792097C72278}"/>
          </ac:spMkLst>
        </pc:spChg>
      </pc:sldChg>
      <pc:sldChg chg="addSp delSp modSp add mod setBg">
        <pc:chgData name="Louis-Guillaume Morand" userId="40ad395802f30fee" providerId="LiveId" clId="{FAD786C8-6F7E-43FC-B825-BB9FDAB99835}" dt="2019-11-20T14:34:13.793" v="2543"/>
        <pc:sldMkLst>
          <pc:docMk/>
          <pc:sldMk cId="467718785" sldId="516"/>
        </pc:sldMkLst>
        <pc:spChg chg="add del">
          <ac:chgData name="Louis-Guillaume Morand" userId="40ad395802f30fee" providerId="LiveId" clId="{FAD786C8-6F7E-43FC-B825-BB9FDAB99835}" dt="2019-11-20T09:55:06.381" v="2268" actId="478"/>
          <ac:spMkLst>
            <pc:docMk/>
            <pc:sldMk cId="467718785" sldId="516"/>
            <ac:spMk id="2" creationId="{13C77C66-092B-4483-8267-DCD1BE5892D9}"/>
          </ac:spMkLst>
        </pc:spChg>
        <pc:spChg chg="add del mod">
          <ac:chgData name="Louis-Guillaume Morand" userId="40ad395802f30fee" providerId="LiveId" clId="{FAD786C8-6F7E-43FC-B825-BB9FDAB99835}" dt="2019-11-20T10:12:04.294" v="2347" actId="478"/>
          <ac:spMkLst>
            <pc:docMk/>
            <pc:sldMk cId="467718785" sldId="516"/>
            <ac:spMk id="4" creationId="{1BBA7E27-71CE-4615-8A58-F92B18308EFB}"/>
          </ac:spMkLst>
        </pc:spChg>
        <pc:spChg chg="add del">
          <ac:chgData name="Louis-Guillaume Morand" userId="40ad395802f30fee" providerId="LiveId" clId="{FAD786C8-6F7E-43FC-B825-BB9FDAB99835}" dt="2019-11-20T09:54:58.232" v="2263" actId="26606"/>
          <ac:spMkLst>
            <pc:docMk/>
            <pc:sldMk cId="467718785" sldId="516"/>
            <ac:spMk id="8" creationId="{32BC26D8-82FB-445E-AA49-62A77D7C1EE0}"/>
          </ac:spMkLst>
        </pc:spChg>
        <pc:spChg chg="add">
          <ac:chgData name="Louis-Guillaume Morand" userId="40ad395802f30fee" providerId="LiveId" clId="{FAD786C8-6F7E-43FC-B825-BB9FDAB99835}" dt="2019-11-20T14:34:13.793" v="2543"/>
          <ac:spMkLst>
            <pc:docMk/>
            <pc:sldMk cId="467718785" sldId="516"/>
            <ac:spMk id="9" creationId="{B6014145-D6A4-4DCF-B3B0-590B5FD814A4}"/>
          </ac:spMkLst>
        </pc:spChg>
        <pc:spChg chg="add del">
          <ac:chgData name="Louis-Guillaume Morand" userId="40ad395802f30fee" providerId="LiveId" clId="{FAD786C8-6F7E-43FC-B825-BB9FDAB99835}" dt="2019-11-20T09:54:58.232" v="2263" actId="26606"/>
          <ac:spMkLst>
            <pc:docMk/>
            <pc:sldMk cId="467718785" sldId="516"/>
            <ac:spMk id="10" creationId="{CB44330D-EA18-4254-AA95-EB49948539B8}"/>
          </ac:spMkLst>
        </pc:spChg>
        <pc:spChg chg="add del">
          <ac:chgData name="Louis-Guillaume Morand" userId="40ad395802f30fee" providerId="LiveId" clId="{FAD786C8-6F7E-43FC-B825-BB9FDAB99835}" dt="2019-11-20T09:55:00.670" v="2265" actId="26606"/>
          <ac:spMkLst>
            <pc:docMk/>
            <pc:sldMk cId="467718785" sldId="516"/>
            <ac:spMk id="12" creationId="{01D0AF59-99C3-4251-AB9A-C966C6AD4400}"/>
          </ac:spMkLst>
        </pc:spChg>
        <pc:spChg chg="add del">
          <ac:chgData name="Louis-Guillaume Morand" userId="40ad395802f30fee" providerId="LiveId" clId="{FAD786C8-6F7E-43FC-B825-BB9FDAB99835}" dt="2019-11-20T09:55:00.670" v="2265" actId="26606"/>
          <ac:spMkLst>
            <pc:docMk/>
            <pc:sldMk cId="467718785" sldId="516"/>
            <ac:spMk id="13" creationId="{1855405F-37A2-4869-9154-F8BE3BECE6C3}"/>
          </ac:spMkLst>
        </pc:spChg>
        <pc:picChg chg="add del mod">
          <ac:chgData name="Louis-Guillaume Morand" userId="40ad395802f30fee" providerId="LiveId" clId="{FAD786C8-6F7E-43FC-B825-BB9FDAB99835}" dt="2019-11-20T09:55:03.507" v="2267"/>
          <ac:picMkLst>
            <pc:docMk/>
            <pc:sldMk cId="467718785" sldId="516"/>
            <ac:picMk id="3" creationId="{B0AE513D-92FB-48DD-BF49-9766DA649AC2}"/>
          </ac:picMkLst>
        </pc:picChg>
      </pc:sldChg>
      <pc:sldChg chg="addSp delSp modSp add modNotesTx">
        <pc:chgData name="Louis-Guillaume Morand" userId="40ad395802f30fee" providerId="LiveId" clId="{FAD786C8-6F7E-43FC-B825-BB9FDAB99835}" dt="2019-11-29T17:47:49.764" v="3395" actId="20577"/>
        <pc:sldMkLst>
          <pc:docMk/>
          <pc:sldMk cId="289818769" sldId="517"/>
        </pc:sldMkLst>
        <pc:spChg chg="del">
          <ac:chgData name="Louis-Guillaume Morand" userId="40ad395802f30fee" providerId="LiveId" clId="{FAD786C8-6F7E-43FC-B825-BB9FDAB99835}" dt="2019-11-20T09:55:45.166" v="2270" actId="478"/>
          <ac:spMkLst>
            <pc:docMk/>
            <pc:sldMk cId="289818769" sldId="517"/>
            <ac:spMk id="2" creationId="{7284031E-706E-4B07-AF11-B29DC0D98D73}"/>
          </ac:spMkLst>
        </pc:spChg>
        <pc:spChg chg="add mod">
          <ac:chgData name="Louis-Guillaume Morand" userId="40ad395802f30fee" providerId="LiveId" clId="{FAD786C8-6F7E-43FC-B825-BB9FDAB99835}" dt="2019-11-20T10:12:58.490" v="2378" actId="6549"/>
          <ac:spMkLst>
            <pc:docMk/>
            <pc:sldMk cId="289818769" sldId="517"/>
            <ac:spMk id="4" creationId="{20FCA1ED-E356-4C16-AE40-1F4797E03C18}"/>
          </ac:spMkLst>
        </pc:spChg>
        <pc:picChg chg="add">
          <ac:chgData name="Louis-Guillaume Morand" userId="40ad395802f30fee" providerId="LiveId" clId="{FAD786C8-6F7E-43FC-B825-BB9FDAB99835}" dt="2019-11-20T09:55:45.535" v="2271"/>
          <ac:picMkLst>
            <pc:docMk/>
            <pc:sldMk cId="289818769" sldId="517"/>
            <ac:picMk id="3" creationId="{39FED75D-E162-4247-97E6-0A0EE515DFAC}"/>
          </ac:picMkLst>
        </pc:picChg>
      </pc:sldChg>
      <pc:sldChg chg="addSp delSp add">
        <pc:chgData name="Louis-Guillaume Morand" userId="40ad395802f30fee" providerId="LiveId" clId="{FAD786C8-6F7E-43FC-B825-BB9FDAB99835}" dt="2019-11-20T14:34:12.786" v="2542"/>
        <pc:sldMkLst>
          <pc:docMk/>
          <pc:sldMk cId="4193751666" sldId="518"/>
        </pc:sldMkLst>
        <pc:spChg chg="del">
          <ac:chgData name="Louis-Guillaume Morand" userId="40ad395802f30fee" providerId="LiveId" clId="{FAD786C8-6F7E-43FC-B825-BB9FDAB99835}" dt="2019-11-20T10:13:26.961" v="2382" actId="478"/>
          <ac:spMkLst>
            <pc:docMk/>
            <pc:sldMk cId="4193751666" sldId="518"/>
            <ac:spMk id="2" creationId="{137FB235-048E-464D-B08C-E1F2C941A18E}"/>
          </ac:spMkLst>
        </pc:spChg>
        <pc:spChg chg="add">
          <ac:chgData name="Louis-Guillaume Morand" userId="40ad395802f30fee" providerId="LiveId" clId="{FAD786C8-6F7E-43FC-B825-BB9FDAB99835}" dt="2019-11-20T14:34:12.786" v="2542"/>
          <ac:spMkLst>
            <pc:docMk/>
            <pc:sldMk cId="4193751666" sldId="518"/>
            <ac:spMk id="4" creationId="{CD644B21-A448-4E8D-955B-D4B7B2D50EEB}"/>
          </ac:spMkLst>
        </pc:spChg>
        <pc:picChg chg="add">
          <ac:chgData name="Louis-Guillaume Morand" userId="40ad395802f30fee" providerId="LiveId" clId="{FAD786C8-6F7E-43FC-B825-BB9FDAB99835}" dt="2019-11-20T10:13:27.423" v="2383"/>
          <ac:picMkLst>
            <pc:docMk/>
            <pc:sldMk cId="4193751666" sldId="518"/>
            <ac:picMk id="3" creationId="{CC97663B-F79A-4D9F-B9B2-C107C82DCA17}"/>
          </ac:picMkLst>
        </pc:picChg>
      </pc:sldChg>
      <pc:sldChg chg="addSp delSp modSp add mod setBg">
        <pc:chgData name="Louis-Guillaume Morand" userId="40ad395802f30fee" providerId="LiveId" clId="{FAD786C8-6F7E-43FC-B825-BB9FDAB99835}" dt="2019-11-20T10:13:03.387" v="2379"/>
        <pc:sldMkLst>
          <pc:docMk/>
          <pc:sldMk cId="2885250106" sldId="519"/>
        </pc:sldMkLst>
        <pc:spChg chg="del">
          <ac:chgData name="Louis-Guillaume Morand" userId="40ad395802f30fee" providerId="LiveId" clId="{FAD786C8-6F7E-43FC-B825-BB9FDAB99835}" dt="2019-11-20T10:08:57.796" v="2305" actId="478"/>
          <ac:spMkLst>
            <pc:docMk/>
            <pc:sldMk cId="2885250106" sldId="519"/>
            <ac:spMk id="2" creationId="{474BA86B-7D93-4DA6-8310-0E3AE45A5A93}"/>
          </ac:spMkLst>
        </pc:spChg>
        <pc:spChg chg="add">
          <ac:chgData name="Louis-Guillaume Morand" userId="40ad395802f30fee" providerId="LiveId" clId="{FAD786C8-6F7E-43FC-B825-BB9FDAB99835}" dt="2019-11-20T10:13:03.387" v="2379"/>
          <ac:spMkLst>
            <pc:docMk/>
            <pc:sldMk cId="2885250106" sldId="519"/>
            <ac:spMk id="5" creationId="{C7EAB875-635F-4477-B7DD-5F99795068CE}"/>
          </ac:spMkLst>
        </pc:spChg>
        <pc:picChg chg="add mod">
          <ac:chgData name="Louis-Guillaume Morand" userId="40ad395802f30fee" providerId="LiveId" clId="{FAD786C8-6F7E-43FC-B825-BB9FDAB99835}" dt="2019-11-20T10:09:06.594" v="2315" actId="26606"/>
          <ac:picMkLst>
            <pc:docMk/>
            <pc:sldMk cId="2885250106" sldId="519"/>
            <ac:picMk id="4" creationId="{DDD501CA-6A09-479B-887B-3282299665DD}"/>
          </ac:picMkLst>
        </pc:picChg>
      </pc:sldChg>
      <pc:sldChg chg="addSp delSp modSp add">
        <pc:chgData name="Louis-Guillaume Morand" userId="40ad395802f30fee" providerId="LiveId" clId="{FAD786C8-6F7E-43FC-B825-BB9FDAB99835}" dt="2019-11-20T11:20:36.383" v="2520"/>
        <pc:sldMkLst>
          <pc:docMk/>
          <pc:sldMk cId="1180097478" sldId="520"/>
        </pc:sldMkLst>
        <pc:spChg chg="del">
          <ac:chgData name="Louis-Guillaume Morand" userId="40ad395802f30fee" providerId="LiveId" clId="{FAD786C8-6F7E-43FC-B825-BB9FDAB99835}" dt="2019-11-20T10:16:00.012" v="2384"/>
          <ac:spMkLst>
            <pc:docMk/>
            <pc:sldMk cId="1180097478" sldId="520"/>
            <ac:spMk id="2" creationId="{A9D915CE-800D-40CC-99BB-0E1B6A404C65}"/>
          </ac:spMkLst>
        </pc:spChg>
        <pc:spChg chg="add">
          <ac:chgData name="Louis-Guillaume Morand" userId="40ad395802f30fee" providerId="LiveId" clId="{FAD786C8-6F7E-43FC-B825-BB9FDAB99835}" dt="2019-11-20T10:13:07.833" v="2381"/>
          <ac:spMkLst>
            <pc:docMk/>
            <pc:sldMk cId="1180097478" sldId="520"/>
            <ac:spMk id="3" creationId="{55E645A1-5C63-426E-88C1-59E35C1371F5}"/>
          </ac:spMkLst>
        </pc:spChg>
        <pc:picChg chg="add mod">
          <ac:chgData name="Louis-Guillaume Morand" userId="40ad395802f30fee" providerId="LiveId" clId="{FAD786C8-6F7E-43FC-B825-BB9FDAB99835}" dt="2019-11-20T10:16:30.077" v="2394" actId="14100"/>
          <ac:picMkLst>
            <pc:docMk/>
            <pc:sldMk cId="1180097478" sldId="520"/>
            <ac:picMk id="5" creationId="{61C01BF3-7CC0-4DDC-9FEF-B3D59B01A1F0}"/>
          </ac:picMkLst>
        </pc:picChg>
        <pc:picChg chg="add del mod">
          <ac:chgData name="Louis-Guillaume Morand" userId="40ad395802f30fee" providerId="LiveId" clId="{FAD786C8-6F7E-43FC-B825-BB9FDAB99835}" dt="2019-11-20T11:20:36.383" v="2520"/>
          <ac:picMkLst>
            <pc:docMk/>
            <pc:sldMk cId="1180097478" sldId="520"/>
            <ac:picMk id="7" creationId="{2C46BA93-3281-448A-A0D3-6E832C0C192E}"/>
          </ac:picMkLst>
        </pc:picChg>
      </pc:sldChg>
      <pc:sldChg chg="addSp delSp modSp add">
        <pc:chgData name="Louis-Guillaume Morand" userId="40ad395802f30fee" providerId="LiveId" clId="{FAD786C8-6F7E-43FC-B825-BB9FDAB99835}" dt="2019-11-21T14:34:45.179" v="2871"/>
        <pc:sldMkLst>
          <pc:docMk/>
          <pc:sldMk cId="730326209" sldId="521"/>
        </pc:sldMkLst>
        <pc:spChg chg="del">
          <ac:chgData name="Louis-Guillaume Morand" userId="40ad395802f30fee" providerId="LiveId" clId="{FAD786C8-6F7E-43FC-B825-BB9FDAB99835}" dt="2019-11-20T11:20:42.110" v="2522" actId="478"/>
          <ac:spMkLst>
            <pc:docMk/>
            <pc:sldMk cId="730326209" sldId="521"/>
            <ac:spMk id="2" creationId="{63213303-17C8-4831-807B-2B2C95965885}"/>
          </ac:spMkLst>
        </pc:spChg>
        <pc:spChg chg="add">
          <ac:chgData name="Louis-Guillaume Morand" userId="40ad395802f30fee" providerId="LiveId" clId="{FAD786C8-6F7E-43FC-B825-BB9FDAB99835}" dt="2019-11-21T14:34:45.179" v="2871"/>
          <ac:spMkLst>
            <pc:docMk/>
            <pc:sldMk cId="730326209" sldId="521"/>
            <ac:spMk id="5" creationId="{4EEE6677-EC11-40E7-A2DF-705B2ECC01EF}"/>
          </ac:spMkLst>
        </pc:spChg>
        <pc:picChg chg="add mod">
          <ac:chgData name="Louis-Guillaume Morand" userId="40ad395802f30fee" providerId="LiveId" clId="{FAD786C8-6F7E-43FC-B825-BB9FDAB99835}" dt="2019-11-20T11:20:49.515" v="2527" actId="14100"/>
          <ac:picMkLst>
            <pc:docMk/>
            <pc:sldMk cId="730326209" sldId="521"/>
            <ac:picMk id="4" creationId="{8330DC42-FA88-4D6C-881C-95767953881F}"/>
          </ac:picMkLst>
        </pc:picChg>
      </pc:sldChg>
      <pc:sldChg chg="addSp delSp add">
        <pc:chgData name="Louis-Guillaume Morand" userId="40ad395802f30fee" providerId="LiveId" clId="{FAD786C8-6F7E-43FC-B825-BB9FDAB99835}" dt="2019-11-20T14:21:08.733" v="2536"/>
        <pc:sldMkLst>
          <pc:docMk/>
          <pc:sldMk cId="881444751" sldId="522"/>
        </pc:sldMkLst>
        <pc:spChg chg="del">
          <ac:chgData name="Louis-Guillaume Morand" userId="40ad395802f30fee" providerId="LiveId" clId="{FAD786C8-6F7E-43FC-B825-BB9FDAB99835}" dt="2019-11-20T14:21:02.193" v="2534" actId="478"/>
          <ac:spMkLst>
            <pc:docMk/>
            <pc:sldMk cId="881444751" sldId="522"/>
            <ac:spMk id="2" creationId="{44FBAC91-393D-4824-ABA7-FB6E15E27873}"/>
          </ac:spMkLst>
        </pc:spChg>
        <pc:spChg chg="add">
          <ac:chgData name="Louis-Guillaume Morand" userId="40ad395802f30fee" providerId="LiveId" clId="{FAD786C8-6F7E-43FC-B825-BB9FDAB99835}" dt="2019-11-20T14:21:08.733" v="2536"/>
          <ac:spMkLst>
            <pc:docMk/>
            <pc:sldMk cId="881444751" sldId="522"/>
            <ac:spMk id="4" creationId="{18354CCF-3A69-4D9E-8F3F-D4E08449AAB6}"/>
          </ac:spMkLst>
        </pc:spChg>
        <pc:picChg chg="add">
          <ac:chgData name="Louis-Guillaume Morand" userId="40ad395802f30fee" providerId="LiveId" clId="{FAD786C8-6F7E-43FC-B825-BB9FDAB99835}" dt="2019-11-20T14:21:02.604" v="2535"/>
          <ac:picMkLst>
            <pc:docMk/>
            <pc:sldMk cId="881444751" sldId="522"/>
            <ac:picMk id="3" creationId="{30AE16E2-DE06-4C96-BECD-65795454B245}"/>
          </ac:picMkLst>
        </pc:picChg>
      </pc:sldChg>
      <pc:sldChg chg="addSp delSp modSp add">
        <pc:chgData name="Louis-Guillaume Morand" userId="40ad395802f30fee" providerId="LiveId" clId="{FAD786C8-6F7E-43FC-B825-BB9FDAB99835}" dt="2019-11-20T14:34:16.174" v="2544"/>
        <pc:sldMkLst>
          <pc:docMk/>
          <pc:sldMk cId="628991017" sldId="523"/>
        </pc:sldMkLst>
        <pc:spChg chg="del">
          <ac:chgData name="Louis-Guillaume Morand" userId="40ad395802f30fee" providerId="LiveId" clId="{FAD786C8-6F7E-43FC-B825-BB9FDAB99835}" dt="2019-11-20T14:33:57.111" v="2538" actId="478"/>
          <ac:spMkLst>
            <pc:docMk/>
            <pc:sldMk cId="628991017" sldId="523"/>
            <ac:spMk id="2" creationId="{AED4CF3F-04F1-4980-AF62-34714FB734B4}"/>
          </ac:spMkLst>
        </pc:spChg>
        <pc:spChg chg="add">
          <ac:chgData name="Louis-Guillaume Morand" userId="40ad395802f30fee" providerId="LiveId" clId="{FAD786C8-6F7E-43FC-B825-BB9FDAB99835}" dt="2019-11-20T14:34:16.174" v="2544"/>
          <ac:spMkLst>
            <pc:docMk/>
            <pc:sldMk cId="628991017" sldId="523"/>
            <ac:spMk id="5" creationId="{3708889E-F206-4398-BBB4-22F05E6F8E81}"/>
          </ac:spMkLst>
        </pc:spChg>
        <pc:picChg chg="add mod">
          <ac:chgData name="Louis-Guillaume Morand" userId="40ad395802f30fee" providerId="LiveId" clId="{FAD786C8-6F7E-43FC-B825-BB9FDAB99835}" dt="2019-11-20T14:33:59.206" v="2541" actId="962"/>
          <ac:picMkLst>
            <pc:docMk/>
            <pc:sldMk cId="628991017" sldId="523"/>
            <ac:picMk id="4" creationId="{0B6C5400-F9B3-4D95-BA45-C17AFAFFB907}"/>
          </ac:picMkLst>
        </pc:picChg>
      </pc:sldChg>
      <pc:sldChg chg="addSp delSp modSp add">
        <pc:chgData name="Louis-Guillaume Morand" userId="40ad395802f30fee" providerId="LiveId" clId="{FAD786C8-6F7E-43FC-B825-BB9FDAB99835}" dt="2019-11-23T15:17:15.474" v="2916" actId="1076"/>
        <pc:sldMkLst>
          <pc:docMk/>
          <pc:sldMk cId="2002640470" sldId="524"/>
        </pc:sldMkLst>
        <pc:spChg chg="del">
          <ac:chgData name="Louis-Guillaume Morand" userId="40ad395802f30fee" providerId="LiveId" clId="{FAD786C8-6F7E-43FC-B825-BB9FDAB99835}" dt="2019-11-21T14:25:50.204" v="2700" actId="478"/>
          <ac:spMkLst>
            <pc:docMk/>
            <pc:sldMk cId="2002640470" sldId="524"/>
            <ac:spMk id="2" creationId="{FAA95E05-0986-4224-B57C-ADEB45AD1010}"/>
          </ac:spMkLst>
        </pc:spChg>
        <pc:spChg chg="del">
          <ac:chgData name="Louis-Guillaume Morand" userId="40ad395802f30fee" providerId="LiveId" clId="{FAD786C8-6F7E-43FC-B825-BB9FDAB99835}" dt="2019-11-21T14:25:49.396" v="2699" actId="478"/>
          <ac:spMkLst>
            <pc:docMk/>
            <pc:sldMk cId="2002640470" sldId="524"/>
            <ac:spMk id="3" creationId="{245A0D4C-FE83-4116-A2D0-B08BDCAA98B2}"/>
          </ac:spMkLst>
        </pc:spChg>
        <pc:spChg chg="add mod">
          <ac:chgData name="Louis-Guillaume Morand" userId="40ad395802f30fee" providerId="LiveId" clId="{FAD786C8-6F7E-43FC-B825-BB9FDAB99835}" dt="2019-11-21T14:26:02.532" v="2713" actId="1076"/>
          <ac:spMkLst>
            <pc:docMk/>
            <pc:sldMk cId="2002640470" sldId="524"/>
            <ac:spMk id="6" creationId="{7509B009-7D8E-4656-A89E-0548E86D2619}"/>
          </ac:spMkLst>
        </pc:spChg>
        <pc:spChg chg="add mod">
          <ac:chgData name="Louis-Guillaume Morand" userId="40ad395802f30fee" providerId="LiveId" clId="{FAD786C8-6F7E-43FC-B825-BB9FDAB99835}" dt="2019-11-23T15:15:23.980" v="2891" actId="207"/>
          <ac:spMkLst>
            <pc:docMk/>
            <pc:sldMk cId="2002640470" sldId="524"/>
            <ac:spMk id="8" creationId="{AC95317B-6E78-4FD0-99B9-7CEC8F85C3A1}"/>
          </ac:spMkLst>
        </pc:spChg>
        <pc:spChg chg="add mod">
          <ac:chgData name="Louis-Guillaume Morand" userId="40ad395802f30fee" providerId="LiveId" clId="{FAD786C8-6F7E-43FC-B825-BB9FDAB99835}" dt="2019-11-23T15:15:43.902" v="2896" actId="207"/>
          <ac:spMkLst>
            <pc:docMk/>
            <pc:sldMk cId="2002640470" sldId="524"/>
            <ac:spMk id="9" creationId="{D51269CF-A0E0-4584-80A4-41117348CBDC}"/>
          </ac:spMkLst>
        </pc:spChg>
        <pc:spChg chg="add mod">
          <ac:chgData name="Louis-Guillaume Morand" userId="40ad395802f30fee" providerId="LiveId" clId="{FAD786C8-6F7E-43FC-B825-BB9FDAB99835}" dt="2019-11-23T15:16:16.003" v="2900" actId="1076"/>
          <ac:spMkLst>
            <pc:docMk/>
            <pc:sldMk cId="2002640470" sldId="524"/>
            <ac:spMk id="10" creationId="{189396DB-70C5-47A1-A8B0-8F93DA32E31B}"/>
          </ac:spMkLst>
        </pc:spChg>
        <pc:spChg chg="add mod">
          <ac:chgData name="Louis-Guillaume Morand" userId="40ad395802f30fee" providerId="LiveId" clId="{FAD786C8-6F7E-43FC-B825-BB9FDAB99835}" dt="2019-11-23T15:16:40.042" v="2906" actId="1076"/>
          <ac:spMkLst>
            <pc:docMk/>
            <pc:sldMk cId="2002640470" sldId="524"/>
            <ac:spMk id="11" creationId="{234F812B-B801-4AC4-9866-69FFE0AD1FF5}"/>
          </ac:spMkLst>
        </pc:spChg>
        <pc:spChg chg="add mod">
          <ac:chgData name="Louis-Guillaume Morand" userId="40ad395802f30fee" providerId="LiveId" clId="{FAD786C8-6F7E-43FC-B825-BB9FDAB99835}" dt="2019-11-23T15:16:45.115" v="2908" actId="1076"/>
          <ac:spMkLst>
            <pc:docMk/>
            <pc:sldMk cId="2002640470" sldId="524"/>
            <ac:spMk id="12" creationId="{86A9C738-6D89-444A-92F9-BD4F1D3D9A0E}"/>
          </ac:spMkLst>
        </pc:spChg>
        <pc:spChg chg="add mod">
          <ac:chgData name="Louis-Guillaume Morand" userId="40ad395802f30fee" providerId="LiveId" clId="{FAD786C8-6F7E-43FC-B825-BB9FDAB99835}" dt="2019-11-23T15:17:05.515" v="2913" actId="1076"/>
          <ac:spMkLst>
            <pc:docMk/>
            <pc:sldMk cId="2002640470" sldId="524"/>
            <ac:spMk id="13" creationId="{5848835C-FFE6-4CD6-BB88-6912FBAABA94}"/>
          </ac:spMkLst>
        </pc:spChg>
        <pc:spChg chg="add mod">
          <ac:chgData name="Louis-Guillaume Morand" userId="40ad395802f30fee" providerId="LiveId" clId="{FAD786C8-6F7E-43FC-B825-BB9FDAB99835}" dt="2019-11-23T15:17:15.474" v="2916" actId="1076"/>
          <ac:spMkLst>
            <pc:docMk/>
            <pc:sldMk cId="2002640470" sldId="524"/>
            <ac:spMk id="14" creationId="{E481E1BD-425D-402E-AD8D-FFA63242ACF5}"/>
          </ac:spMkLst>
        </pc:spChg>
        <pc:picChg chg="add mod">
          <ac:chgData name="Louis-Guillaume Morand" userId="40ad395802f30fee" providerId="LiveId" clId="{FAD786C8-6F7E-43FC-B825-BB9FDAB99835}" dt="2019-11-21T14:25:53.719" v="2703" actId="27614"/>
          <ac:picMkLst>
            <pc:docMk/>
            <pc:sldMk cId="2002640470" sldId="524"/>
            <ac:picMk id="5" creationId="{93D55D0C-7C1E-4FCE-9A84-F3A32B11CCD7}"/>
          </ac:picMkLst>
        </pc:picChg>
        <pc:cxnChg chg="add mod">
          <ac:chgData name="Louis-Guillaume Morand" userId="40ad395802f30fee" providerId="LiveId" clId="{FAD786C8-6F7E-43FC-B825-BB9FDAB99835}" dt="2019-11-21T14:26:08.211" v="2715" actId="1076"/>
          <ac:cxnSpMkLst>
            <pc:docMk/>
            <pc:sldMk cId="2002640470" sldId="524"/>
            <ac:cxnSpMk id="7" creationId="{8E1473F9-F86F-4DA3-B2BF-F7104BDADBFD}"/>
          </ac:cxnSpMkLst>
        </pc:cxnChg>
      </pc:sldChg>
      <pc:sldChg chg="modSp add del">
        <pc:chgData name="Louis-Guillaume Morand" userId="40ad395802f30fee" providerId="LiveId" clId="{FAD786C8-6F7E-43FC-B825-BB9FDAB99835}" dt="2019-11-23T15:17:16.761" v="2917" actId="2696"/>
        <pc:sldMkLst>
          <pc:docMk/>
          <pc:sldMk cId="4035548853" sldId="4814"/>
        </pc:sldMkLst>
        <pc:spChg chg="mod">
          <ac:chgData name="Louis-Guillaume Morand" userId="40ad395802f30fee" providerId="LiveId" clId="{FAD786C8-6F7E-43FC-B825-BB9FDAB99835}" dt="2019-11-23T15:16:27.862" v="2903" actId="207"/>
          <ac:spMkLst>
            <pc:docMk/>
            <pc:sldMk cId="4035548853" sldId="4814"/>
            <ac:spMk id="3" creationId="{C4514ABA-9649-48A3-8AED-88B653226F4F}"/>
          </ac:spMkLst>
        </pc:spChg>
        <pc:spChg chg="mod">
          <ac:chgData name="Louis-Guillaume Morand" userId="40ad395802f30fee" providerId="LiveId" clId="{FAD786C8-6F7E-43FC-B825-BB9FDAB99835}" dt="2019-11-23T15:16:25.287" v="2902" actId="207"/>
          <ac:spMkLst>
            <pc:docMk/>
            <pc:sldMk cId="4035548853" sldId="4814"/>
            <ac:spMk id="8" creationId="{A2FACDC1-FC11-4523-9232-54731F0DDAE2}"/>
          </ac:spMkLst>
        </pc:spChg>
        <pc:spChg chg="mod">
          <ac:chgData name="Louis-Guillaume Morand" userId="40ad395802f30fee" providerId="LiveId" clId="{FAD786C8-6F7E-43FC-B825-BB9FDAB99835}" dt="2019-11-23T15:16:56.228" v="2910" actId="207"/>
          <ac:spMkLst>
            <pc:docMk/>
            <pc:sldMk cId="4035548853" sldId="4814"/>
            <ac:spMk id="9" creationId="{16EE1EDB-CA6E-4BF7-A20C-D2B29362BECA}"/>
          </ac:spMkLst>
        </pc:spChg>
        <pc:spChg chg="mod">
          <ac:chgData name="Louis-Guillaume Morand" userId="40ad395802f30fee" providerId="LiveId" clId="{FAD786C8-6F7E-43FC-B825-BB9FDAB99835}" dt="2019-11-23T15:16:21.574" v="2901" actId="207"/>
          <ac:spMkLst>
            <pc:docMk/>
            <pc:sldMk cId="4035548853" sldId="4814"/>
            <ac:spMk id="10" creationId="{8F669D84-A6A9-48F9-9573-CCCA12E2E874}"/>
          </ac:spMkLst>
        </pc:spChg>
        <pc:spChg chg="mod">
          <ac:chgData name="Louis-Guillaume Morand" userId="40ad395802f30fee" providerId="LiveId" clId="{FAD786C8-6F7E-43FC-B825-BB9FDAB99835}" dt="2019-11-23T15:16:52.950" v="2909" actId="207"/>
          <ac:spMkLst>
            <pc:docMk/>
            <pc:sldMk cId="4035548853" sldId="4814"/>
            <ac:spMk id="11" creationId="{1BFDA68C-1894-4379-A099-5492F1F896F8}"/>
          </ac:spMkLst>
        </pc:spChg>
        <pc:spChg chg="mod">
          <ac:chgData name="Louis-Guillaume Morand" userId="40ad395802f30fee" providerId="LiveId" clId="{FAD786C8-6F7E-43FC-B825-BB9FDAB99835}" dt="2019-11-23T15:16:03.062" v="2897" actId="207"/>
          <ac:spMkLst>
            <pc:docMk/>
            <pc:sldMk cId="4035548853" sldId="4814"/>
            <ac:spMk id="14" creationId="{DC18D41C-DEC1-458C-BDEB-7E178A45BFD0}"/>
          </ac:spMkLst>
        </pc:spChg>
      </pc:sldChg>
      <pc:sldChg chg="modSp add">
        <pc:chgData name="Louis-Guillaume Morand" userId="40ad395802f30fee" providerId="LiveId" clId="{FAD786C8-6F7E-43FC-B825-BB9FDAB99835}" dt="2019-11-27T14:14:08.789" v="2928" actId="207"/>
        <pc:sldMkLst>
          <pc:docMk/>
          <pc:sldMk cId="3882515863" sldId="2076136774"/>
        </pc:sldMkLst>
        <pc:spChg chg="mod">
          <ac:chgData name="Louis-Guillaume Morand" userId="40ad395802f30fee" providerId="LiveId" clId="{FAD786C8-6F7E-43FC-B825-BB9FDAB99835}" dt="2019-11-27T14:14:08.789" v="2928" actId="207"/>
          <ac:spMkLst>
            <pc:docMk/>
            <pc:sldMk cId="3882515863" sldId="2076136774"/>
            <ac:spMk id="26" creationId="{6FC3604A-9E67-4CFD-954F-554AE2D94D7E}"/>
          </ac:spMkLst>
        </pc:spChg>
        <pc:grpChg chg="mod">
          <ac:chgData name="Louis-Guillaume Morand" userId="40ad395802f30fee" providerId="LiveId" clId="{FAD786C8-6F7E-43FC-B825-BB9FDAB99835}" dt="2019-11-27T14:13:41.185" v="2927" actId="207"/>
          <ac:grpSpMkLst>
            <pc:docMk/>
            <pc:sldMk cId="3882515863" sldId="2076136774"/>
            <ac:grpSpMk id="39" creationId="{F3BC477D-1DC5-4878-98D1-828F2FCA93DC}"/>
          </ac:grpSpMkLst>
        </pc:grpChg>
      </pc:sldChg>
      <pc:sldChg chg="addSp add ord">
        <pc:chgData name="Louis-Guillaume Morand" userId="40ad395802f30fee" providerId="LiveId" clId="{FAD786C8-6F7E-43FC-B825-BB9FDAB99835}" dt="2019-11-27T14:12:25.310" v="2925"/>
        <pc:sldMkLst>
          <pc:docMk/>
          <pc:sldMk cId="774896690" sldId="2076136791"/>
        </pc:sldMkLst>
        <pc:spChg chg="add">
          <ac:chgData name="Louis-Guillaume Morand" userId="40ad395802f30fee" providerId="LiveId" clId="{FAD786C8-6F7E-43FC-B825-BB9FDAB99835}" dt="2019-11-27T14:12:25.310" v="2925"/>
          <ac:spMkLst>
            <pc:docMk/>
            <pc:sldMk cId="774896690" sldId="2076136791"/>
            <ac:spMk id="27" creationId="{61979CD5-561D-483F-AF00-AF6A53068575}"/>
          </ac:spMkLst>
        </pc:spChg>
      </pc:sldChg>
      <pc:sldChg chg="add del">
        <pc:chgData name="Louis-Guillaume Morand" userId="40ad395802f30fee" providerId="LiveId" clId="{FAD786C8-6F7E-43FC-B825-BB9FDAB99835}" dt="2019-11-27T14:12:18.796" v="2924" actId="2696"/>
        <pc:sldMkLst>
          <pc:docMk/>
          <pc:sldMk cId="816711605" sldId="2076136797"/>
        </pc:sldMkLst>
      </pc:sldChg>
      <pc:sldChg chg="add del">
        <pc:chgData name="Louis-Guillaume Morand" userId="40ad395802f30fee" providerId="LiveId" clId="{FAD786C8-6F7E-43FC-B825-BB9FDAB99835}" dt="2019-11-27T14:11:45.800" v="2922" actId="2696"/>
        <pc:sldMkLst>
          <pc:docMk/>
          <pc:sldMk cId="1247457733" sldId="2076136827"/>
        </pc:sldMkLst>
      </pc:sldChg>
      <pc:sldMasterChg chg="addSp delSp modSp delSldLayout">
        <pc:chgData name="Louis-Guillaume Morand" userId="40ad395802f30fee" providerId="LiveId" clId="{FAD786C8-6F7E-43FC-B825-BB9FDAB99835}" dt="2019-11-29T17:48:31.890" v="3399" actId="1076"/>
        <pc:sldMasterMkLst>
          <pc:docMk/>
          <pc:sldMasterMk cId="3771909393" sldId="2147483648"/>
        </pc:sldMasterMkLst>
        <pc:spChg chg="add mod">
          <ac:chgData name="Louis-Guillaume Morand" userId="40ad395802f30fee" providerId="LiveId" clId="{FAD786C8-6F7E-43FC-B825-BB9FDAB99835}" dt="2019-11-29T17:48:31.890" v="3399" actId="1076"/>
          <ac:spMkLst>
            <pc:docMk/>
            <pc:sldMasterMk cId="3771909393" sldId="2147483648"/>
            <ac:spMk id="2" creationId="{8D2EF3D6-EF17-4DF0-852E-2C49BD313577}"/>
          </ac:spMkLst>
        </pc:spChg>
        <pc:spChg chg="del">
          <ac:chgData name="Louis-Guillaume Morand" userId="40ad395802f30fee" providerId="LiveId" clId="{FAD786C8-6F7E-43FC-B825-BB9FDAB99835}" dt="2019-11-18T15:18:59.008" v="3" actId="478"/>
          <ac:spMkLst>
            <pc:docMk/>
            <pc:sldMasterMk cId="3771909393" sldId="2147483648"/>
            <ac:spMk id="7" creationId="{0771D703-5748-45B6-A0E4-B02D1FF62E09}"/>
          </ac:spMkLst>
        </pc:spChg>
        <pc:picChg chg="add mod">
          <ac:chgData name="Louis-Guillaume Morand" userId="40ad395802f30fee" providerId="LiveId" clId="{FAD786C8-6F7E-43FC-B825-BB9FDAB99835}" dt="2019-11-21T14:19:09.024" v="2554" actId="1035"/>
          <ac:picMkLst>
            <pc:docMk/>
            <pc:sldMasterMk cId="3771909393" sldId="2147483648"/>
            <ac:picMk id="3" creationId="{18A32689-3BEA-4950-B79D-47386EF2DAE3}"/>
          </ac:picMkLst>
        </pc:picChg>
        <pc:picChg chg="add del mod">
          <ac:chgData name="Louis-Guillaume Morand" userId="40ad395802f30fee" providerId="LiveId" clId="{FAD786C8-6F7E-43FC-B825-BB9FDAB99835}" dt="2019-11-18T15:20:31.174" v="8" actId="478"/>
          <ac:picMkLst>
            <pc:docMk/>
            <pc:sldMasterMk cId="3771909393" sldId="2147483648"/>
            <ac:picMk id="5" creationId="{83EB679F-2014-42F4-8988-C8770D88AC6B}"/>
          </ac:picMkLst>
        </pc:picChg>
        <pc:picChg chg="add mod">
          <ac:chgData name="Louis-Guillaume Morand" userId="40ad395802f30fee" providerId="LiveId" clId="{FAD786C8-6F7E-43FC-B825-BB9FDAB99835}" dt="2019-11-18T15:20:51.087" v="14" actId="1076"/>
          <ac:picMkLst>
            <pc:docMk/>
            <pc:sldMasterMk cId="3771909393" sldId="2147483648"/>
            <ac:picMk id="8" creationId="{DF4FFB2B-A0D0-4EAD-8624-F7F99214B370}"/>
          </ac:picMkLst>
        </pc:picChg>
        <pc:sldLayoutChg chg="del">
          <pc:chgData name="Louis-Guillaume Morand" userId="40ad395802f30fee" providerId="LiveId" clId="{FAD786C8-6F7E-43FC-B825-BB9FDAB99835}" dt="2019-11-23T15:17:16.762" v="2918" actId="2696"/>
          <pc:sldLayoutMkLst>
            <pc:docMk/>
            <pc:sldMasterMk cId="3771909393" sldId="2147483648"/>
            <pc:sldLayoutMk cId="1281721961" sldId="2147483672"/>
          </pc:sldLayoutMkLst>
        </pc:sldLayoutChg>
      </pc:sldMasterChg>
    </pc:docChg>
  </pc:docChgLst>
  <pc:docChgLst>
    <pc:chgData name="Louis-Guillaume Morand" userId="40ad395802f30fee" providerId="LiveId" clId="{ABFEDFE4-D74E-4E73-913E-393EDD12B857}"/>
    <pc:docChg chg="delSld modSld">
      <pc:chgData name="Louis-Guillaume Morand" userId="40ad395802f30fee" providerId="LiveId" clId="{ABFEDFE4-D74E-4E73-913E-393EDD12B857}" dt="2019-11-29T15:33:51.279" v="6" actId="47"/>
      <pc:docMkLst>
        <pc:docMk/>
      </pc:docMkLst>
      <pc:sldChg chg="del">
        <pc:chgData name="Louis-Guillaume Morand" userId="40ad395802f30fee" providerId="LiveId" clId="{ABFEDFE4-D74E-4E73-913E-393EDD12B857}" dt="2019-11-29T15:33:51.279" v="6" actId="47"/>
        <pc:sldMkLst>
          <pc:docMk/>
          <pc:sldMk cId="456302436" sldId="503"/>
        </pc:sldMkLst>
      </pc:sldChg>
      <pc:sldChg chg="modSp">
        <pc:chgData name="Louis-Guillaume Morand" userId="40ad395802f30fee" providerId="LiveId" clId="{ABFEDFE4-D74E-4E73-913E-393EDD12B857}" dt="2019-11-29T15:00:41.278" v="5" actId="1076"/>
        <pc:sldMkLst>
          <pc:docMk/>
          <pc:sldMk cId="2940023887" sldId="507"/>
        </pc:sldMkLst>
        <pc:picChg chg="mod">
          <ac:chgData name="Louis-Guillaume Morand" userId="40ad395802f30fee" providerId="LiveId" clId="{ABFEDFE4-D74E-4E73-913E-393EDD12B857}" dt="2019-11-29T15:00:41.278" v="5" actId="1076"/>
          <ac:picMkLst>
            <pc:docMk/>
            <pc:sldMk cId="2940023887" sldId="507"/>
            <ac:picMk id="4" creationId="{C48A061B-323C-4072-B852-722E312B1750}"/>
          </ac:picMkLst>
        </pc:picChg>
      </pc:sldChg>
    </pc:docChg>
  </pc:docChgLst>
  <pc:docChgLst>
    <pc:chgData name="Louis-Guillaume Morand" userId="40ad395802f30fee" providerId="LiveId" clId="{3C5683E5-8A5C-492A-A229-3AAC2D8BD155}"/>
    <pc:docChg chg="modSld">
      <pc:chgData name="Louis-Guillaume Morand" userId="40ad395802f30fee" providerId="LiveId" clId="{3C5683E5-8A5C-492A-A229-3AAC2D8BD155}" dt="2019-12-24T16:58:53.159" v="0" actId="20577"/>
      <pc:docMkLst>
        <pc:docMk/>
      </pc:docMkLst>
      <pc:sldChg chg="modSp">
        <pc:chgData name="Louis-Guillaume Morand" userId="40ad395802f30fee" providerId="LiveId" clId="{3C5683E5-8A5C-492A-A229-3AAC2D8BD155}" dt="2019-12-24T16:58:53.159" v="0" actId="20577"/>
        <pc:sldMkLst>
          <pc:docMk/>
          <pc:sldMk cId="3377047004" sldId="498"/>
        </pc:sldMkLst>
        <pc:spChg chg="mod">
          <ac:chgData name="Louis-Guillaume Morand" userId="40ad395802f30fee" providerId="LiveId" clId="{3C5683E5-8A5C-492A-A229-3AAC2D8BD155}" dt="2019-12-24T16:58:53.159" v="0" actId="20577"/>
          <ac:spMkLst>
            <pc:docMk/>
            <pc:sldMk cId="3377047004" sldId="498"/>
            <ac:spMk id="5" creationId="{0B4C3F29-4B45-4FFD-98DF-428EF7D7F138}"/>
          </ac:spMkLst>
        </pc:spChg>
      </pc:sldChg>
    </pc:docChg>
  </pc:docChgLst>
  <pc:docChgLst>
    <pc:chgData name="Louis-Guillaume Morand" userId="40ad395802f30fee" providerId="LiveId" clId="{C722B914-F96D-44C0-AD80-D01B8CB5C8C0}"/>
    <pc:docChg chg="undo custSel modSld modMainMaster">
      <pc:chgData name="Louis-Guillaume Morand" userId="40ad395802f30fee" providerId="LiveId" clId="{C722B914-F96D-44C0-AD80-D01B8CB5C8C0}" dt="2019-11-30T17:56:29.128" v="687" actId="207"/>
      <pc:docMkLst>
        <pc:docMk/>
      </pc:docMkLst>
      <pc:sldChg chg="addSp delSp modSp">
        <pc:chgData name="Louis-Guillaume Morand" userId="40ad395802f30fee" providerId="LiveId" clId="{C722B914-F96D-44C0-AD80-D01B8CB5C8C0}" dt="2019-11-30T17:52:10.808" v="683"/>
        <pc:sldMkLst>
          <pc:docMk/>
          <pc:sldMk cId="2200105883" sldId="508"/>
        </pc:sldMkLst>
        <pc:spChg chg="add mod">
          <ac:chgData name="Louis-Guillaume Morand" userId="40ad395802f30fee" providerId="LiveId" clId="{C722B914-F96D-44C0-AD80-D01B8CB5C8C0}" dt="2019-11-30T16:55:40.257" v="7" actId="14100"/>
          <ac:spMkLst>
            <pc:docMk/>
            <pc:sldMk cId="2200105883" sldId="508"/>
            <ac:spMk id="2" creationId="{D9BF2693-4667-404B-A3C3-3A9917E96F67}"/>
          </ac:spMkLst>
        </pc:spChg>
        <pc:spChg chg="add mod">
          <ac:chgData name="Louis-Guillaume Morand" userId="40ad395802f30fee" providerId="LiveId" clId="{C722B914-F96D-44C0-AD80-D01B8CB5C8C0}" dt="2019-11-30T16:55:56.337" v="12" actId="14100"/>
          <ac:spMkLst>
            <pc:docMk/>
            <pc:sldMk cId="2200105883" sldId="508"/>
            <ac:spMk id="7" creationId="{A94AACBC-CDED-4FF9-B8F8-C3624D8BEF91}"/>
          </ac:spMkLst>
        </pc:spChg>
        <pc:spChg chg="add mod">
          <ac:chgData name="Louis-Guillaume Morand" userId="40ad395802f30fee" providerId="LiveId" clId="{C722B914-F96D-44C0-AD80-D01B8CB5C8C0}" dt="2019-11-30T16:56:16.626" v="18" actId="14100"/>
          <ac:spMkLst>
            <pc:docMk/>
            <pc:sldMk cId="2200105883" sldId="508"/>
            <ac:spMk id="8" creationId="{AB1EF5E2-4EC3-492F-A2A4-5DD21A4B5FA5}"/>
          </ac:spMkLst>
        </pc:spChg>
        <pc:spChg chg="add mod">
          <ac:chgData name="Louis-Guillaume Morand" userId="40ad395802f30fee" providerId="LiveId" clId="{C722B914-F96D-44C0-AD80-D01B8CB5C8C0}" dt="2019-11-30T16:57:14.690" v="25" actId="208"/>
          <ac:spMkLst>
            <pc:docMk/>
            <pc:sldMk cId="2200105883" sldId="508"/>
            <ac:spMk id="10" creationId="{46EBBA74-C5CF-472B-B50F-76042A009F88}"/>
          </ac:spMkLst>
        </pc:spChg>
        <pc:spChg chg="add mod">
          <ac:chgData name="Louis-Guillaume Morand" userId="40ad395802f30fee" providerId="LiveId" clId="{C722B914-F96D-44C0-AD80-D01B8CB5C8C0}" dt="2019-11-30T17:12:08.794" v="221" actId="1076"/>
          <ac:spMkLst>
            <pc:docMk/>
            <pc:sldMk cId="2200105883" sldId="508"/>
            <ac:spMk id="32" creationId="{0AA6A1B2-CCE9-45D4-A42F-E770E61FC8FA}"/>
          </ac:spMkLst>
        </pc:spChg>
        <pc:spChg chg="add mod">
          <ac:chgData name="Louis-Guillaume Morand" userId="40ad395802f30fee" providerId="LiveId" clId="{C722B914-F96D-44C0-AD80-D01B8CB5C8C0}" dt="2019-11-30T17:11:40.026" v="201" actId="1076"/>
          <ac:spMkLst>
            <pc:docMk/>
            <pc:sldMk cId="2200105883" sldId="508"/>
            <ac:spMk id="33" creationId="{34970A24-5D4F-478F-A26C-BF5EECE8DC35}"/>
          </ac:spMkLst>
        </pc:spChg>
        <pc:spChg chg="add mod">
          <ac:chgData name="Louis-Guillaume Morand" userId="40ad395802f30fee" providerId="LiveId" clId="{C722B914-F96D-44C0-AD80-D01B8CB5C8C0}" dt="2019-11-30T17:12:26.793" v="234" actId="20577"/>
          <ac:spMkLst>
            <pc:docMk/>
            <pc:sldMk cId="2200105883" sldId="508"/>
            <ac:spMk id="34" creationId="{9657A4FC-BD7A-4C4D-BD5F-E7E71629E8A5}"/>
          </ac:spMkLst>
        </pc:spChg>
        <pc:spChg chg="add">
          <ac:chgData name="Louis-Guillaume Morand" userId="40ad395802f30fee" providerId="LiveId" clId="{C722B914-F96D-44C0-AD80-D01B8CB5C8C0}" dt="2019-11-30T17:12:17.726" v="222"/>
          <ac:spMkLst>
            <pc:docMk/>
            <pc:sldMk cId="2200105883" sldId="508"/>
            <ac:spMk id="35" creationId="{805DDABF-6B9B-4372-A8F9-03719813BFB4}"/>
          </ac:spMkLst>
        </pc:spChg>
        <pc:spChg chg="add mod">
          <ac:chgData name="Louis-Guillaume Morand" userId="40ad395802f30fee" providerId="LiveId" clId="{C722B914-F96D-44C0-AD80-D01B8CB5C8C0}" dt="2019-11-30T17:12:44.209" v="260" actId="1076"/>
          <ac:spMkLst>
            <pc:docMk/>
            <pc:sldMk cId="2200105883" sldId="508"/>
            <ac:spMk id="36" creationId="{536A90CA-9C11-4B8F-A246-C137FFD1A706}"/>
          </ac:spMkLst>
        </pc:spChg>
        <pc:spChg chg="add mod">
          <ac:chgData name="Louis-Guillaume Morand" userId="40ad395802f30fee" providerId="LiveId" clId="{C722B914-F96D-44C0-AD80-D01B8CB5C8C0}" dt="2019-11-30T17:13:00.514" v="281" actId="1076"/>
          <ac:spMkLst>
            <pc:docMk/>
            <pc:sldMk cId="2200105883" sldId="508"/>
            <ac:spMk id="37" creationId="{1FCB2E6A-E28E-4FD8-BAB0-49E31980592D}"/>
          </ac:spMkLst>
        </pc:spChg>
        <pc:spChg chg="add mod">
          <ac:chgData name="Louis-Guillaume Morand" userId="40ad395802f30fee" providerId="LiveId" clId="{C722B914-F96D-44C0-AD80-D01B8CB5C8C0}" dt="2019-11-30T17:13:22.722" v="300" actId="1076"/>
          <ac:spMkLst>
            <pc:docMk/>
            <pc:sldMk cId="2200105883" sldId="508"/>
            <ac:spMk id="38" creationId="{E52CA3CE-56B1-4040-A950-638D63B23F36}"/>
          </ac:spMkLst>
        </pc:spChg>
        <pc:spChg chg="add mod">
          <ac:chgData name="Louis-Guillaume Morand" userId="40ad395802f30fee" providerId="LiveId" clId="{C722B914-F96D-44C0-AD80-D01B8CB5C8C0}" dt="2019-11-30T17:13:36.378" v="325" actId="1076"/>
          <ac:spMkLst>
            <pc:docMk/>
            <pc:sldMk cId="2200105883" sldId="508"/>
            <ac:spMk id="39" creationId="{59DEB8E1-C046-4094-A138-353302DF1F28}"/>
          </ac:spMkLst>
        </pc:spChg>
        <pc:spChg chg="add mod">
          <ac:chgData name="Louis-Guillaume Morand" userId="40ad395802f30fee" providerId="LiveId" clId="{C722B914-F96D-44C0-AD80-D01B8CB5C8C0}" dt="2019-11-30T17:13:52.930" v="352" actId="1076"/>
          <ac:spMkLst>
            <pc:docMk/>
            <pc:sldMk cId="2200105883" sldId="508"/>
            <ac:spMk id="40" creationId="{D849A450-8459-4EBE-9FFC-5A232B73CDBB}"/>
          </ac:spMkLst>
        </pc:spChg>
        <pc:spChg chg="add mod">
          <ac:chgData name="Louis-Guillaume Morand" userId="40ad395802f30fee" providerId="LiveId" clId="{C722B914-F96D-44C0-AD80-D01B8CB5C8C0}" dt="2019-11-30T17:14:04.865" v="359" actId="1076"/>
          <ac:spMkLst>
            <pc:docMk/>
            <pc:sldMk cId="2200105883" sldId="508"/>
            <ac:spMk id="41" creationId="{349BA772-F9EF-4B92-AB3E-E219AAB1F779}"/>
          </ac:spMkLst>
        </pc:spChg>
        <pc:spChg chg="add mod">
          <ac:chgData name="Louis-Guillaume Morand" userId="40ad395802f30fee" providerId="LiveId" clId="{C722B914-F96D-44C0-AD80-D01B8CB5C8C0}" dt="2019-11-30T17:15:43.913" v="375" actId="1076"/>
          <ac:spMkLst>
            <pc:docMk/>
            <pc:sldMk cId="2200105883" sldId="508"/>
            <ac:spMk id="42" creationId="{28F19F0B-F38B-4B1E-A335-F5031A95A475}"/>
          </ac:spMkLst>
        </pc:spChg>
        <pc:spChg chg="add mod">
          <ac:chgData name="Louis-Guillaume Morand" userId="40ad395802f30fee" providerId="LiveId" clId="{C722B914-F96D-44C0-AD80-D01B8CB5C8C0}" dt="2019-11-30T17:16:07.298" v="403" actId="1076"/>
          <ac:spMkLst>
            <pc:docMk/>
            <pc:sldMk cId="2200105883" sldId="508"/>
            <ac:spMk id="43" creationId="{E1869D96-0175-4044-84B1-B22FF73950C7}"/>
          </ac:spMkLst>
        </pc:spChg>
        <pc:spChg chg="add mod">
          <ac:chgData name="Louis-Guillaume Morand" userId="40ad395802f30fee" providerId="LiveId" clId="{C722B914-F96D-44C0-AD80-D01B8CB5C8C0}" dt="2019-11-30T17:19:16.395" v="416" actId="14100"/>
          <ac:spMkLst>
            <pc:docMk/>
            <pc:sldMk cId="2200105883" sldId="508"/>
            <ac:spMk id="44" creationId="{099272EB-6C4F-494F-AA0A-E78B59ACDD7E}"/>
          </ac:spMkLst>
        </pc:spChg>
        <pc:spChg chg="add mod">
          <ac:chgData name="Louis-Guillaume Morand" userId="40ad395802f30fee" providerId="LiveId" clId="{C722B914-F96D-44C0-AD80-D01B8CB5C8C0}" dt="2019-11-30T17:19:30.219" v="442" actId="14100"/>
          <ac:spMkLst>
            <pc:docMk/>
            <pc:sldMk cId="2200105883" sldId="508"/>
            <ac:spMk id="45" creationId="{E2921FE7-D5FE-4B95-A193-0FE8BB9BB71B}"/>
          </ac:spMkLst>
        </pc:spChg>
        <pc:spChg chg="add mod">
          <ac:chgData name="Louis-Guillaume Morand" userId="40ad395802f30fee" providerId="LiveId" clId="{C722B914-F96D-44C0-AD80-D01B8CB5C8C0}" dt="2019-11-30T17:19:48.123" v="453" actId="1076"/>
          <ac:spMkLst>
            <pc:docMk/>
            <pc:sldMk cId="2200105883" sldId="508"/>
            <ac:spMk id="46" creationId="{4BFCABFC-2321-4FEA-B59D-6D2D79EBFD54}"/>
          </ac:spMkLst>
        </pc:spChg>
        <pc:spChg chg="add del">
          <ac:chgData name="Louis-Guillaume Morand" userId="40ad395802f30fee" providerId="LiveId" clId="{C722B914-F96D-44C0-AD80-D01B8CB5C8C0}" dt="2019-11-30T17:20:00.283" v="455"/>
          <ac:spMkLst>
            <pc:docMk/>
            <pc:sldMk cId="2200105883" sldId="508"/>
            <ac:spMk id="47" creationId="{8C5429FA-3DA8-4BE1-883F-FFBB44ABC181}"/>
          </ac:spMkLst>
        </pc:spChg>
        <pc:spChg chg="add mod">
          <ac:chgData name="Louis-Guillaume Morand" userId="40ad395802f30fee" providerId="LiveId" clId="{C722B914-F96D-44C0-AD80-D01B8CB5C8C0}" dt="2019-11-30T17:20:17.225" v="482" actId="1076"/>
          <ac:spMkLst>
            <pc:docMk/>
            <pc:sldMk cId="2200105883" sldId="508"/>
            <ac:spMk id="48" creationId="{58352919-12B0-45C2-8EA3-A6CFDD84BDC6}"/>
          </ac:spMkLst>
        </pc:spChg>
        <pc:spChg chg="add mod">
          <ac:chgData name="Louis-Guillaume Morand" userId="40ad395802f30fee" providerId="LiveId" clId="{C722B914-F96D-44C0-AD80-D01B8CB5C8C0}" dt="2019-11-30T17:28:28.723" v="510" actId="164"/>
          <ac:spMkLst>
            <pc:docMk/>
            <pc:sldMk cId="2200105883" sldId="508"/>
            <ac:spMk id="53" creationId="{35E5DEB4-0EB8-422F-B9A7-40714A2A1A9D}"/>
          </ac:spMkLst>
        </pc:spChg>
        <pc:spChg chg="add mod">
          <ac:chgData name="Louis-Guillaume Morand" userId="40ad395802f30fee" providerId="LiveId" clId="{C722B914-F96D-44C0-AD80-D01B8CB5C8C0}" dt="2019-11-30T17:29:58.750" v="538" actId="207"/>
          <ac:spMkLst>
            <pc:docMk/>
            <pc:sldMk cId="2200105883" sldId="508"/>
            <ac:spMk id="75" creationId="{5FBD6EF4-4F94-48B6-A7BF-DD3056029CCC}"/>
          </ac:spMkLst>
        </pc:spChg>
        <pc:spChg chg="add mod">
          <ac:chgData name="Louis-Guillaume Morand" userId="40ad395802f30fee" providerId="LiveId" clId="{C722B914-F96D-44C0-AD80-D01B8CB5C8C0}" dt="2019-11-30T17:30:03.340" v="540" actId="1076"/>
          <ac:spMkLst>
            <pc:docMk/>
            <pc:sldMk cId="2200105883" sldId="508"/>
            <ac:spMk id="76" creationId="{9F75F0B9-9FD9-4A35-81A9-81605538E561}"/>
          </ac:spMkLst>
        </pc:spChg>
        <pc:spChg chg="add mod">
          <ac:chgData name="Louis-Guillaume Morand" userId="40ad395802f30fee" providerId="LiveId" clId="{C722B914-F96D-44C0-AD80-D01B8CB5C8C0}" dt="2019-11-30T17:30:08.211" v="542" actId="1076"/>
          <ac:spMkLst>
            <pc:docMk/>
            <pc:sldMk cId="2200105883" sldId="508"/>
            <ac:spMk id="77" creationId="{CCC4369B-3B08-46C2-B3EF-8F4C3483B51C}"/>
          </ac:spMkLst>
        </pc:spChg>
        <pc:spChg chg="add mod">
          <ac:chgData name="Louis-Guillaume Morand" userId="40ad395802f30fee" providerId="LiveId" clId="{C722B914-F96D-44C0-AD80-D01B8CB5C8C0}" dt="2019-11-30T17:32:18.202" v="559" actId="1076"/>
          <ac:spMkLst>
            <pc:docMk/>
            <pc:sldMk cId="2200105883" sldId="508"/>
            <ac:spMk id="78" creationId="{44FB0847-849A-47FD-B05D-87F6F2D9DFED}"/>
          </ac:spMkLst>
        </pc:spChg>
        <pc:spChg chg="add mod">
          <ac:chgData name="Louis-Guillaume Morand" userId="40ad395802f30fee" providerId="LiveId" clId="{C722B914-F96D-44C0-AD80-D01B8CB5C8C0}" dt="2019-11-30T17:51:29.251" v="676" actId="20577"/>
          <ac:spMkLst>
            <pc:docMk/>
            <pc:sldMk cId="2200105883" sldId="508"/>
            <ac:spMk id="79" creationId="{67230914-46A1-44A4-A56D-013613A8F217}"/>
          </ac:spMkLst>
        </pc:spChg>
        <pc:spChg chg="add mod">
          <ac:chgData name="Louis-Guillaume Morand" userId="40ad395802f30fee" providerId="LiveId" clId="{C722B914-F96D-44C0-AD80-D01B8CB5C8C0}" dt="2019-11-30T17:50:47.821" v="642" actId="14100"/>
          <ac:spMkLst>
            <pc:docMk/>
            <pc:sldMk cId="2200105883" sldId="508"/>
            <ac:spMk id="112" creationId="{69464C0E-2C87-4B55-A39F-3972611F22C3}"/>
          </ac:spMkLst>
        </pc:spChg>
        <pc:spChg chg="add mod">
          <ac:chgData name="Louis-Guillaume Morand" userId="40ad395802f30fee" providerId="LiveId" clId="{C722B914-F96D-44C0-AD80-D01B8CB5C8C0}" dt="2019-11-30T17:51:02.093" v="658" actId="14100"/>
          <ac:spMkLst>
            <pc:docMk/>
            <pc:sldMk cId="2200105883" sldId="508"/>
            <ac:spMk id="113" creationId="{70AA881C-1AC2-461B-A867-18A9AF9E5132}"/>
          </ac:spMkLst>
        </pc:spChg>
        <pc:spChg chg="add mod">
          <ac:chgData name="Louis-Guillaume Morand" userId="40ad395802f30fee" providerId="LiveId" clId="{C722B914-F96D-44C0-AD80-D01B8CB5C8C0}" dt="2019-11-30T17:51:12.605" v="674" actId="1076"/>
          <ac:spMkLst>
            <pc:docMk/>
            <pc:sldMk cId="2200105883" sldId="508"/>
            <ac:spMk id="114" creationId="{002E5695-E3D1-4F43-BD22-F61D35BBC192}"/>
          </ac:spMkLst>
        </pc:spChg>
        <pc:grpChg chg="add mod">
          <ac:chgData name="Louis-Guillaume Morand" userId="40ad395802f30fee" providerId="LiveId" clId="{C722B914-F96D-44C0-AD80-D01B8CB5C8C0}" dt="2019-11-30T17:28:28.723" v="510" actId="164"/>
          <ac:grpSpMkLst>
            <pc:docMk/>
            <pc:sldMk cId="2200105883" sldId="508"/>
            <ac:grpSpMk id="56" creationId="{EE0734B4-0B0A-49C0-858D-02C12728D6F0}"/>
          </ac:grpSpMkLst>
        </pc:grpChg>
        <pc:grpChg chg="add mod">
          <ac:chgData name="Louis-Guillaume Morand" userId="40ad395802f30fee" providerId="LiveId" clId="{C722B914-F96D-44C0-AD80-D01B8CB5C8C0}" dt="2019-11-30T17:28:43.011" v="512" actId="1076"/>
          <ac:grpSpMkLst>
            <pc:docMk/>
            <pc:sldMk cId="2200105883" sldId="508"/>
            <ac:grpSpMk id="57" creationId="{79039D11-CA94-4625-BEA3-B00EB6D1DDD2}"/>
          </ac:grpSpMkLst>
        </pc:grpChg>
        <pc:grpChg chg="add mod">
          <ac:chgData name="Louis-Guillaume Morand" userId="40ad395802f30fee" providerId="LiveId" clId="{C722B914-F96D-44C0-AD80-D01B8CB5C8C0}" dt="2019-11-30T17:28:47.204" v="514" actId="1076"/>
          <ac:grpSpMkLst>
            <pc:docMk/>
            <pc:sldMk cId="2200105883" sldId="508"/>
            <ac:grpSpMk id="60" creationId="{E4BCA08F-076B-4601-A1CC-2057BAD9B1F4}"/>
          </ac:grpSpMkLst>
        </pc:grpChg>
        <pc:grpChg chg="add mod">
          <ac:chgData name="Louis-Guillaume Morand" userId="40ad395802f30fee" providerId="LiveId" clId="{C722B914-F96D-44C0-AD80-D01B8CB5C8C0}" dt="2019-11-30T17:28:50.594" v="516" actId="1076"/>
          <ac:grpSpMkLst>
            <pc:docMk/>
            <pc:sldMk cId="2200105883" sldId="508"/>
            <ac:grpSpMk id="63" creationId="{A796D310-D6A0-4B71-B4C3-7517993355B4}"/>
          </ac:grpSpMkLst>
        </pc:grpChg>
        <pc:grpChg chg="add mod">
          <ac:chgData name="Louis-Guillaume Morand" userId="40ad395802f30fee" providerId="LiveId" clId="{C722B914-F96D-44C0-AD80-D01B8CB5C8C0}" dt="2019-11-30T17:28:55.531" v="518" actId="1076"/>
          <ac:grpSpMkLst>
            <pc:docMk/>
            <pc:sldMk cId="2200105883" sldId="508"/>
            <ac:grpSpMk id="66" creationId="{A9888D96-13EC-4A11-A581-1E5EEFC47EF7}"/>
          </ac:grpSpMkLst>
        </pc:grpChg>
        <pc:grpChg chg="add mod">
          <ac:chgData name="Louis-Guillaume Morand" userId="40ad395802f30fee" providerId="LiveId" clId="{C722B914-F96D-44C0-AD80-D01B8CB5C8C0}" dt="2019-11-30T17:29:21.603" v="520" actId="1076"/>
          <ac:grpSpMkLst>
            <pc:docMk/>
            <pc:sldMk cId="2200105883" sldId="508"/>
            <ac:grpSpMk id="69" creationId="{5717BF45-7841-495B-BAAE-85131E0E0EBD}"/>
          </ac:grpSpMkLst>
        </pc:grpChg>
        <pc:grpChg chg="add mod">
          <ac:chgData name="Louis-Guillaume Morand" userId="40ad395802f30fee" providerId="LiveId" clId="{C722B914-F96D-44C0-AD80-D01B8CB5C8C0}" dt="2019-11-30T17:29:26.202" v="522" actId="1076"/>
          <ac:grpSpMkLst>
            <pc:docMk/>
            <pc:sldMk cId="2200105883" sldId="508"/>
            <ac:grpSpMk id="72" creationId="{280DF3C6-4110-400B-88B4-7E56298D11E2}"/>
          </ac:grpSpMkLst>
        </pc:grpChg>
        <pc:picChg chg="add mod ord">
          <ac:chgData name="Louis-Guillaume Morand" userId="40ad395802f30fee" providerId="LiveId" clId="{C722B914-F96D-44C0-AD80-D01B8CB5C8C0}" dt="2019-11-30T17:33:27.124" v="582" actId="166"/>
          <ac:picMkLst>
            <pc:docMk/>
            <pc:sldMk cId="2200105883" sldId="508"/>
            <ac:picMk id="4" creationId="{92908EBB-4661-481A-990B-2032A6EAA936}"/>
          </ac:picMkLst>
        </pc:picChg>
        <pc:picChg chg="del mod">
          <ac:chgData name="Louis-Guillaume Morand" userId="40ad395802f30fee" providerId="LiveId" clId="{C722B914-F96D-44C0-AD80-D01B8CB5C8C0}" dt="2019-11-30T17:51:17.381" v="675" actId="478"/>
          <ac:picMkLst>
            <pc:docMk/>
            <pc:sldMk cId="2200105883" sldId="508"/>
            <ac:picMk id="9" creationId="{C7B351B2-4443-4B52-9318-A111EDAC8FC4}"/>
          </ac:picMkLst>
        </pc:picChg>
        <pc:picChg chg="add mod">
          <ac:chgData name="Louis-Guillaume Morand" userId="40ad395802f30fee" providerId="LiveId" clId="{C722B914-F96D-44C0-AD80-D01B8CB5C8C0}" dt="2019-11-30T17:20:49.531" v="493" actId="1076"/>
          <ac:picMkLst>
            <pc:docMk/>
            <pc:sldMk cId="2200105883" sldId="508"/>
            <ac:picMk id="12" creationId="{BFADDD3D-A98C-4CC8-8D15-E9C32961508C}"/>
          </ac:picMkLst>
        </pc:picChg>
        <pc:picChg chg="add mod">
          <ac:chgData name="Louis-Guillaume Morand" userId="40ad395802f30fee" providerId="LiveId" clId="{C722B914-F96D-44C0-AD80-D01B8CB5C8C0}" dt="2019-11-30T17:20:52.242" v="495" actId="1076"/>
          <ac:picMkLst>
            <pc:docMk/>
            <pc:sldMk cId="2200105883" sldId="508"/>
            <ac:picMk id="14" creationId="{13245D75-914A-433E-976B-2957BE8B76BE}"/>
          </ac:picMkLst>
        </pc:picChg>
        <pc:picChg chg="add mod">
          <ac:chgData name="Louis-Guillaume Morand" userId="40ad395802f30fee" providerId="LiveId" clId="{C722B914-F96D-44C0-AD80-D01B8CB5C8C0}" dt="2019-11-30T17:04:43.601" v="124" actId="1076"/>
          <ac:picMkLst>
            <pc:docMk/>
            <pc:sldMk cId="2200105883" sldId="508"/>
            <ac:picMk id="17" creationId="{4168CD16-B46D-44CB-8464-F0B0E54A3C02}"/>
          </ac:picMkLst>
        </pc:picChg>
        <pc:picChg chg="add mod">
          <ac:chgData name="Louis-Guillaume Morand" userId="40ad395802f30fee" providerId="LiveId" clId="{C722B914-F96D-44C0-AD80-D01B8CB5C8C0}" dt="2019-11-30T17:05:17.794" v="131" actId="1076"/>
          <ac:picMkLst>
            <pc:docMk/>
            <pc:sldMk cId="2200105883" sldId="508"/>
            <ac:picMk id="19" creationId="{99A3AC20-13E0-42CA-9C17-543DAED76726}"/>
          </ac:picMkLst>
        </pc:picChg>
        <pc:picChg chg="add mod">
          <ac:chgData name="Louis-Guillaume Morand" userId="40ad395802f30fee" providerId="LiveId" clId="{C722B914-F96D-44C0-AD80-D01B8CB5C8C0}" dt="2019-11-30T17:05:51.930" v="137" actId="1076"/>
          <ac:picMkLst>
            <pc:docMk/>
            <pc:sldMk cId="2200105883" sldId="508"/>
            <ac:picMk id="21" creationId="{D0530615-4C62-4859-9F51-633AC9F452B0}"/>
          </ac:picMkLst>
        </pc:picChg>
        <pc:picChg chg="add mod">
          <ac:chgData name="Louis-Guillaume Morand" userId="40ad395802f30fee" providerId="LiveId" clId="{C722B914-F96D-44C0-AD80-D01B8CB5C8C0}" dt="2019-11-30T17:06:33.097" v="142" actId="1076"/>
          <ac:picMkLst>
            <pc:docMk/>
            <pc:sldMk cId="2200105883" sldId="508"/>
            <ac:picMk id="23" creationId="{388737BD-09AE-48C1-A9BF-E3994CB99265}"/>
          </ac:picMkLst>
        </pc:picChg>
        <pc:picChg chg="add mod">
          <ac:chgData name="Louis-Guillaume Morand" userId="40ad395802f30fee" providerId="LiveId" clId="{C722B914-F96D-44C0-AD80-D01B8CB5C8C0}" dt="2019-11-30T17:06:54.393" v="147" actId="1076"/>
          <ac:picMkLst>
            <pc:docMk/>
            <pc:sldMk cId="2200105883" sldId="508"/>
            <ac:picMk id="25" creationId="{7572B485-7F94-43E7-801B-60F77786A0C8}"/>
          </ac:picMkLst>
        </pc:picChg>
        <pc:picChg chg="add mod">
          <ac:chgData name="Louis-Guillaume Morand" userId="40ad395802f30fee" providerId="LiveId" clId="{C722B914-F96D-44C0-AD80-D01B8CB5C8C0}" dt="2019-11-30T17:07:24.266" v="152" actId="1076"/>
          <ac:picMkLst>
            <pc:docMk/>
            <pc:sldMk cId="2200105883" sldId="508"/>
            <ac:picMk id="27" creationId="{C1697981-6C22-4D98-B48E-CFD0E368B953}"/>
          </ac:picMkLst>
        </pc:picChg>
        <pc:picChg chg="add mod">
          <ac:chgData name="Louis-Guillaume Morand" userId="40ad395802f30fee" providerId="LiveId" clId="{C722B914-F96D-44C0-AD80-D01B8CB5C8C0}" dt="2019-11-30T17:08:30.130" v="157" actId="1076"/>
          <ac:picMkLst>
            <pc:docMk/>
            <pc:sldMk cId="2200105883" sldId="508"/>
            <ac:picMk id="29" creationId="{B2C03893-36AA-47E9-8E3F-ED4FCDAFBCB0}"/>
          </ac:picMkLst>
        </pc:picChg>
        <pc:picChg chg="add mod">
          <ac:chgData name="Louis-Guillaume Morand" userId="40ad395802f30fee" providerId="LiveId" clId="{C722B914-F96D-44C0-AD80-D01B8CB5C8C0}" dt="2019-11-30T17:32:41.246" v="579" actId="1036"/>
          <ac:picMkLst>
            <pc:docMk/>
            <pc:sldMk cId="2200105883" sldId="508"/>
            <ac:picMk id="31" creationId="{E8BDB918-1197-40A8-8A57-706F341DB54C}"/>
          </ac:picMkLst>
        </pc:picChg>
        <pc:picChg chg="add mod">
          <ac:chgData name="Louis-Guillaume Morand" userId="40ad395802f30fee" providerId="LiveId" clId="{C722B914-F96D-44C0-AD80-D01B8CB5C8C0}" dt="2019-11-30T17:20:46.578" v="491" actId="1076"/>
          <ac:picMkLst>
            <pc:docMk/>
            <pc:sldMk cId="2200105883" sldId="508"/>
            <ac:picMk id="50" creationId="{6EA81ECA-7B3B-4886-A72B-A0D3AC92A5D3}"/>
          </ac:picMkLst>
        </pc:picChg>
        <pc:picChg chg="add mod">
          <ac:chgData name="Louis-Guillaume Morand" userId="40ad395802f30fee" providerId="LiveId" clId="{C722B914-F96D-44C0-AD80-D01B8CB5C8C0}" dt="2019-11-30T17:28:28.723" v="510" actId="164"/>
          <ac:picMkLst>
            <pc:docMk/>
            <pc:sldMk cId="2200105883" sldId="508"/>
            <ac:picMk id="55" creationId="{E682A0BB-C0C1-471B-B60F-E2265D32FBFB}"/>
          </ac:picMkLst>
        </pc:picChg>
        <pc:cxnChg chg="add del mod">
          <ac:chgData name="Louis-Guillaume Morand" userId="40ad395802f30fee" providerId="LiveId" clId="{C722B914-F96D-44C0-AD80-D01B8CB5C8C0}" dt="2019-11-30T17:21:34.091" v="497" actId="11529"/>
          <ac:cxnSpMkLst>
            <pc:docMk/>
            <pc:sldMk cId="2200105883" sldId="508"/>
            <ac:cxnSpMk id="52" creationId="{29F4B060-ED35-4825-8D8D-CC412DCAE33A}"/>
          </ac:cxnSpMkLst>
        </pc:cxnChg>
        <pc:cxnChg chg="add mod">
          <ac:chgData name="Louis-Guillaume Morand" userId="40ad395802f30fee" providerId="LiveId" clId="{C722B914-F96D-44C0-AD80-D01B8CB5C8C0}" dt="2019-11-30T17:33:23.637" v="581" actId="208"/>
          <ac:cxnSpMkLst>
            <pc:docMk/>
            <pc:sldMk cId="2200105883" sldId="508"/>
            <ac:cxnSpMk id="81" creationId="{B2725B86-D7FA-4EE8-9C42-80311261898A}"/>
          </ac:cxnSpMkLst>
        </pc:cxnChg>
        <pc:cxnChg chg="add mod">
          <ac:chgData name="Louis-Guillaume Morand" userId="40ad395802f30fee" providerId="LiveId" clId="{C722B914-F96D-44C0-AD80-D01B8CB5C8C0}" dt="2019-11-30T17:33:42.619" v="586" actId="14100"/>
          <ac:cxnSpMkLst>
            <pc:docMk/>
            <pc:sldMk cId="2200105883" sldId="508"/>
            <ac:cxnSpMk id="82" creationId="{01F562AF-C658-4B8A-BFDA-4028F5FD58BC}"/>
          </ac:cxnSpMkLst>
        </pc:cxnChg>
        <pc:cxnChg chg="add mod">
          <ac:chgData name="Louis-Guillaume Morand" userId="40ad395802f30fee" providerId="LiveId" clId="{C722B914-F96D-44C0-AD80-D01B8CB5C8C0}" dt="2019-11-30T17:34:18.762" v="596" actId="14100"/>
          <ac:cxnSpMkLst>
            <pc:docMk/>
            <pc:sldMk cId="2200105883" sldId="508"/>
            <ac:cxnSpMk id="85" creationId="{6C12E5D8-388E-4393-80FE-8E6716E1C809}"/>
          </ac:cxnSpMkLst>
        </pc:cxnChg>
        <pc:cxnChg chg="add mod">
          <ac:chgData name="Louis-Guillaume Morand" userId="40ad395802f30fee" providerId="LiveId" clId="{C722B914-F96D-44C0-AD80-D01B8CB5C8C0}" dt="2019-11-30T17:34:15.220" v="595" actId="14100"/>
          <ac:cxnSpMkLst>
            <pc:docMk/>
            <pc:sldMk cId="2200105883" sldId="508"/>
            <ac:cxnSpMk id="88" creationId="{B204B3F3-99AC-4B64-A558-5FF02C11211E}"/>
          </ac:cxnSpMkLst>
        </pc:cxnChg>
        <pc:cxnChg chg="add mod">
          <ac:chgData name="Louis-Guillaume Morand" userId="40ad395802f30fee" providerId="LiveId" clId="{C722B914-F96D-44C0-AD80-D01B8CB5C8C0}" dt="2019-11-30T17:34:31.420" v="600" actId="14100"/>
          <ac:cxnSpMkLst>
            <pc:docMk/>
            <pc:sldMk cId="2200105883" sldId="508"/>
            <ac:cxnSpMk id="93" creationId="{A69B5BF4-DC2D-4713-8FF3-D193DFA13F94}"/>
          </ac:cxnSpMkLst>
        </pc:cxnChg>
        <pc:cxnChg chg="add mod">
          <ac:chgData name="Louis-Guillaume Morand" userId="40ad395802f30fee" providerId="LiveId" clId="{C722B914-F96D-44C0-AD80-D01B8CB5C8C0}" dt="2019-11-30T17:34:43.643" v="604" actId="14100"/>
          <ac:cxnSpMkLst>
            <pc:docMk/>
            <pc:sldMk cId="2200105883" sldId="508"/>
            <ac:cxnSpMk id="96" creationId="{5D17BE9C-4CC9-453F-9E07-40291FEE802A}"/>
          </ac:cxnSpMkLst>
        </pc:cxnChg>
        <pc:cxnChg chg="add mod">
          <ac:chgData name="Louis-Guillaume Morand" userId="40ad395802f30fee" providerId="LiveId" clId="{C722B914-F96D-44C0-AD80-D01B8CB5C8C0}" dt="2019-11-30T17:35:41.819" v="608" actId="14100"/>
          <ac:cxnSpMkLst>
            <pc:docMk/>
            <pc:sldMk cId="2200105883" sldId="508"/>
            <ac:cxnSpMk id="100" creationId="{46ACAB7F-D9EE-4C4F-8AFE-27D3E072890B}"/>
          </ac:cxnSpMkLst>
        </pc:cxnChg>
        <pc:cxnChg chg="add mod">
          <ac:chgData name="Louis-Guillaume Morand" userId="40ad395802f30fee" providerId="LiveId" clId="{C722B914-F96D-44C0-AD80-D01B8CB5C8C0}" dt="2019-11-30T17:50:01.502" v="614" actId="693"/>
          <ac:cxnSpMkLst>
            <pc:docMk/>
            <pc:sldMk cId="2200105883" sldId="508"/>
            <ac:cxnSpMk id="103" creationId="{37C5B438-22B8-4819-B522-41124D29EB50}"/>
          </ac:cxnSpMkLst>
        </pc:cxnChg>
        <pc:cxnChg chg="add mod">
          <ac:chgData name="Louis-Guillaume Morand" userId="40ad395802f30fee" providerId="LiveId" clId="{C722B914-F96D-44C0-AD80-D01B8CB5C8C0}" dt="2019-11-30T17:50:33.110" v="622" actId="14100"/>
          <ac:cxnSpMkLst>
            <pc:docMk/>
            <pc:sldMk cId="2200105883" sldId="508"/>
            <ac:cxnSpMk id="107" creationId="{1D017CDC-EC5A-4348-B108-913F442B9E5F}"/>
          </ac:cxnSpMkLst>
        </pc:cxnChg>
        <pc:cxnChg chg="add mod">
          <ac:chgData name="Louis-Guillaume Morand" userId="40ad395802f30fee" providerId="LiveId" clId="{C722B914-F96D-44C0-AD80-D01B8CB5C8C0}" dt="2019-11-30T17:50:31.332" v="621" actId="14100"/>
          <ac:cxnSpMkLst>
            <pc:docMk/>
            <pc:sldMk cId="2200105883" sldId="508"/>
            <ac:cxnSpMk id="109" creationId="{A63E9058-A93B-4FF4-ABF3-E5D090117991}"/>
          </ac:cxnSpMkLst>
        </pc:cxnChg>
        <pc:cxnChg chg="add mod">
          <ac:chgData name="Louis-Guillaume Morand" userId="40ad395802f30fee" providerId="LiveId" clId="{C722B914-F96D-44C0-AD80-D01B8CB5C8C0}" dt="2019-11-30T17:51:58.612" v="679" actId="14100"/>
          <ac:cxnSpMkLst>
            <pc:docMk/>
            <pc:sldMk cId="2200105883" sldId="508"/>
            <ac:cxnSpMk id="115" creationId="{2BE959E1-65EB-4F59-9CE1-B8700EAC929C}"/>
          </ac:cxnSpMkLst>
        </pc:cxnChg>
        <pc:cxnChg chg="add mod">
          <ac:chgData name="Louis-Guillaume Morand" userId="40ad395802f30fee" providerId="LiveId" clId="{C722B914-F96D-44C0-AD80-D01B8CB5C8C0}" dt="2019-11-30T17:52:10.808" v="683"/>
          <ac:cxnSpMkLst>
            <pc:docMk/>
            <pc:sldMk cId="2200105883" sldId="508"/>
            <ac:cxnSpMk id="118" creationId="{B5C867A4-C1ED-4AAB-ADFF-F3BF2B1496C5}"/>
          </ac:cxnSpMkLst>
        </pc:cxnChg>
      </pc:sldChg>
      <pc:sldChg chg="modSp">
        <pc:chgData name="Louis-Guillaume Morand" userId="40ad395802f30fee" providerId="LiveId" clId="{C722B914-F96D-44C0-AD80-D01B8CB5C8C0}" dt="2019-11-30T17:56:29.128" v="687" actId="207"/>
        <pc:sldMkLst>
          <pc:docMk/>
          <pc:sldMk cId="2141475018" sldId="510"/>
        </pc:sldMkLst>
        <pc:spChg chg="mod">
          <ac:chgData name="Louis-Guillaume Morand" userId="40ad395802f30fee" providerId="LiveId" clId="{C722B914-F96D-44C0-AD80-D01B8CB5C8C0}" dt="2019-11-30T17:56:29.128" v="687" actId="207"/>
          <ac:spMkLst>
            <pc:docMk/>
            <pc:sldMk cId="2141475018" sldId="510"/>
            <ac:spMk id="13" creationId="{C48AEF56-A8A1-44BD-90A8-85EE300E7F66}"/>
          </ac:spMkLst>
        </pc:spChg>
      </pc:sldChg>
      <pc:sldMasterChg chg="delSp modSldLayout">
        <pc:chgData name="Louis-Guillaume Morand" userId="40ad395802f30fee" providerId="LiveId" clId="{C722B914-F96D-44C0-AD80-D01B8CB5C8C0}" dt="2019-11-30T16:54:38.050" v="2" actId="478"/>
        <pc:sldMasterMkLst>
          <pc:docMk/>
          <pc:sldMasterMk cId="3771909393" sldId="2147483648"/>
        </pc:sldMasterMkLst>
        <pc:picChg chg="del">
          <ac:chgData name="Louis-Guillaume Morand" userId="40ad395802f30fee" providerId="LiveId" clId="{C722B914-F96D-44C0-AD80-D01B8CB5C8C0}" dt="2019-11-30T16:54:38.050" v="2" actId="478"/>
          <ac:picMkLst>
            <pc:docMk/>
            <pc:sldMasterMk cId="3771909393" sldId="2147483648"/>
            <ac:picMk id="3" creationId="{18A32689-3BEA-4950-B79D-47386EF2DAE3}"/>
          </ac:picMkLst>
        </pc:picChg>
        <pc:sldLayoutChg chg="addSp delSp">
          <pc:chgData name="Louis-Guillaume Morand" userId="40ad395802f30fee" providerId="LiveId" clId="{C722B914-F96D-44C0-AD80-D01B8CB5C8C0}" dt="2019-11-30T16:54:34.867" v="1" actId="478"/>
          <pc:sldLayoutMkLst>
            <pc:docMk/>
            <pc:sldMasterMk cId="3771909393" sldId="2147483648"/>
            <pc:sldLayoutMk cId="3644354093" sldId="2147483650"/>
          </pc:sldLayoutMkLst>
          <pc:spChg chg="add del">
            <ac:chgData name="Louis-Guillaume Morand" userId="40ad395802f30fee" providerId="LiveId" clId="{C722B914-F96D-44C0-AD80-D01B8CB5C8C0}" dt="2019-11-30T16:54:34.867" v="1" actId="478"/>
            <ac:spMkLst>
              <pc:docMk/>
              <pc:sldMasterMk cId="3771909393" sldId="2147483648"/>
              <pc:sldLayoutMk cId="3644354093" sldId="2147483650"/>
              <ac:spMk id="3" creationId="{A4C41962-99CC-4529-B02B-DF3DDE623FC1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A66BB-6EA5-4D58-95B1-67788268D76E}" type="datetimeFigureOut">
              <a:rPr lang="fr-FR" smtClean="0"/>
              <a:t>04/01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52587B-6FC3-41C0-AD11-5B7FC3A8694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1631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3358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34026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/4/2023 2:28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820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84260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69963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343551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02067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91529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85118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85397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3687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85886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9110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6616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18671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5514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By Louis-Guillaume MORAND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15092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55712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52587B-6FC3-41C0-AD11-5B7FC3A86942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2051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F164EA0-CAD7-445B-B289-6381AA714E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45100" y="1812925"/>
            <a:ext cx="1701800" cy="17018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</a:defRPr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625056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36DD0E-BE5B-45A8-8943-12138684772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099757" y="1638110"/>
            <a:ext cx="1661615" cy="1661615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3D592DB-F21D-4544-9748-75EAAAEE344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430628" y="1638109"/>
            <a:ext cx="1661615" cy="1661615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98171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93170DE-45CB-4881-A64B-B9AA056A71E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8441" y="0"/>
            <a:ext cx="3548063" cy="593634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20652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718A3246-B53F-4490-8686-1EDC9375EE5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43686" y="354841"/>
            <a:ext cx="3548063" cy="45307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38D8E44-5F7C-4B05-9B70-4EF87CC7FA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30010" y="1972434"/>
            <a:ext cx="3548063" cy="45307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700613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10B09A0B-D168-4B4C-AAA0-C82C4EF0EB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91367" y="477672"/>
            <a:ext cx="273635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C9425DD-2C40-4AF8-B70C-C0BA94F6391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91367" y="3568889"/>
            <a:ext cx="273635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D3A48F7D-E5D8-4145-909F-275A583B27E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52931" y="477672"/>
            <a:ext cx="2888964" cy="590265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24026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8233843E-24E3-42D6-AF06-61264FDFF0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94330" y="-1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ED1C93-FD0F-47B0-BD70-D3B582BDCB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530779" y="0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BC64CEC7-EBB8-4CA4-8C91-06BE233CB4C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1432" y="-2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35806F26-B94A-49F2-BDC0-153082DAA11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7881" y="0"/>
            <a:ext cx="2201670" cy="2811439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7863646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C835FE45-AAAA-4261-815D-2A579188CD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6900" y="1587500"/>
            <a:ext cx="2044700" cy="3378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527047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30F69A0-E905-4146-9C4B-CB2EB4DBEA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8077" y="1264016"/>
            <a:ext cx="2938193" cy="4329968"/>
          </a:xfrm>
          <a:custGeom>
            <a:avLst/>
            <a:gdLst/>
            <a:ahLst/>
            <a:cxnLst/>
            <a:rect l="l" t="t" r="r" b="b"/>
            <a:pathLst>
              <a:path w="2938193" h="4329968">
                <a:moveTo>
                  <a:pt x="1503118" y="0"/>
                </a:moveTo>
                <a:cubicBezTo>
                  <a:pt x="1630955" y="0"/>
                  <a:pt x="1758277" y="9794"/>
                  <a:pt x="1885083" y="29382"/>
                </a:cubicBezTo>
                <a:cubicBezTo>
                  <a:pt x="2011889" y="48970"/>
                  <a:pt x="2133025" y="73712"/>
                  <a:pt x="2248491" y="103610"/>
                </a:cubicBezTo>
                <a:cubicBezTo>
                  <a:pt x="2363957" y="133507"/>
                  <a:pt x="2470144" y="167013"/>
                  <a:pt x="2567053" y="204127"/>
                </a:cubicBezTo>
                <a:cubicBezTo>
                  <a:pt x="2663962" y="241241"/>
                  <a:pt x="2746437" y="278355"/>
                  <a:pt x="2814480" y="315469"/>
                </a:cubicBezTo>
                <a:lnTo>
                  <a:pt x="2641281" y="986614"/>
                </a:lnTo>
                <a:cubicBezTo>
                  <a:pt x="2538187" y="951562"/>
                  <a:pt x="2441277" y="919087"/>
                  <a:pt x="2350554" y="889190"/>
                </a:cubicBezTo>
                <a:cubicBezTo>
                  <a:pt x="2259832" y="859292"/>
                  <a:pt x="2171170" y="833519"/>
                  <a:pt x="2084571" y="811869"/>
                </a:cubicBezTo>
                <a:cubicBezTo>
                  <a:pt x="1997971" y="790219"/>
                  <a:pt x="1911372" y="773208"/>
                  <a:pt x="1824773" y="760837"/>
                </a:cubicBezTo>
                <a:cubicBezTo>
                  <a:pt x="1738173" y="748466"/>
                  <a:pt x="1648481" y="742280"/>
                  <a:pt x="1555696" y="742280"/>
                </a:cubicBezTo>
                <a:cubicBezTo>
                  <a:pt x="1351569" y="742280"/>
                  <a:pt x="1199505" y="785580"/>
                  <a:pt x="1099503" y="872179"/>
                </a:cubicBezTo>
                <a:cubicBezTo>
                  <a:pt x="999501" y="958778"/>
                  <a:pt x="949501" y="1070120"/>
                  <a:pt x="949501" y="1206205"/>
                </a:cubicBezTo>
                <a:cubicBezTo>
                  <a:pt x="949501" y="1272185"/>
                  <a:pt x="961872" y="1333527"/>
                  <a:pt x="986615" y="1390229"/>
                </a:cubicBezTo>
                <a:cubicBezTo>
                  <a:pt x="1011357" y="1446930"/>
                  <a:pt x="1050533" y="1500024"/>
                  <a:pt x="1104142" y="1549510"/>
                </a:cubicBezTo>
                <a:cubicBezTo>
                  <a:pt x="1157751" y="1598995"/>
                  <a:pt x="1226825" y="1644872"/>
                  <a:pt x="1311362" y="1687141"/>
                </a:cubicBezTo>
                <a:cubicBezTo>
                  <a:pt x="1395900" y="1729410"/>
                  <a:pt x="1498994" y="1770132"/>
                  <a:pt x="1620646" y="1809308"/>
                </a:cubicBezTo>
                <a:cubicBezTo>
                  <a:pt x="1855701" y="1883536"/>
                  <a:pt x="2056735" y="1962919"/>
                  <a:pt x="2223748" y="2047456"/>
                </a:cubicBezTo>
                <a:cubicBezTo>
                  <a:pt x="2390761" y="2131993"/>
                  <a:pt x="2526846" y="2225810"/>
                  <a:pt x="2632002" y="2328904"/>
                </a:cubicBezTo>
                <a:cubicBezTo>
                  <a:pt x="2737159" y="2431999"/>
                  <a:pt x="2814480" y="2546949"/>
                  <a:pt x="2863965" y="2673755"/>
                </a:cubicBezTo>
                <a:cubicBezTo>
                  <a:pt x="2913450" y="2800561"/>
                  <a:pt x="2938193" y="2943347"/>
                  <a:pt x="2938193" y="3102113"/>
                </a:cubicBezTo>
                <a:cubicBezTo>
                  <a:pt x="2938193" y="3287683"/>
                  <a:pt x="2902625" y="3455727"/>
                  <a:pt x="2831490" y="3606245"/>
                </a:cubicBezTo>
                <a:cubicBezTo>
                  <a:pt x="2760355" y="3756763"/>
                  <a:pt x="2659322" y="3885631"/>
                  <a:pt x="2528392" y="3992849"/>
                </a:cubicBezTo>
                <a:cubicBezTo>
                  <a:pt x="2397463" y="4100067"/>
                  <a:pt x="2239212" y="4183058"/>
                  <a:pt x="2053642" y="4241822"/>
                </a:cubicBezTo>
                <a:cubicBezTo>
                  <a:pt x="1868072" y="4300586"/>
                  <a:pt x="1660852" y="4329968"/>
                  <a:pt x="1431983" y="4329968"/>
                </a:cubicBezTo>
                <a:cubicBezTo>
                  <a:pt x="1310331" y="4329968"/>
                  <a:pt x="1185071" y="4322751"/>
                  <a:pt x="1056203" y="4308318"/>
                </a:cubicBezTo>
                <a:cubicBezTo>
                  <a:pt x="927335" y="4293885"/>
                  <a:pt x="800013" y="4273782"/>
                  <a:pt x="674238" y="4248008"/>
                </a:cubicBezTo>
                <a:cubicBezTo>
                  <a:pt x="548463" y="4222234"/>
                  <a:pt x="427842" y="4190790"/>
                  <a:pt x="312377" y="4153676"/>
                </a:cubicBezTo>
                <a:cubicBezTo>
                  <a:pt x="196911" y="4116562"/>
                  <a:pt x="92785" y="4074293"/>
                  <a:pt x="0" y="4026870"/>
                </a:cubicBezTo>
                <a:lnTo>
                  <a:pt x="222684" y="3358818"/>
                </a:lnTo>
                <a:cubicBezTo>
                  <a:pt x="323717" y="3391808"/>
                  <a:pt x="422172" y="3422221"/>
                  <a:pt x="518050" y="3450056"/>
                </a:cubicBezTo>
                <a:cubicBezTo>
                  <a:pt x="613928" y="3477892"/>
                  <a:pt x="709290" y="3502119"/>
                  <a:pt x="804137" y="3522738"/>
                </a:cubicBezTo>
                <a:cubicBezTo>
                  <a:pt x="898984" y="3543357"/>
                  <a:pt x="994347" y="3559336"/>
                  <a:pt x="1090224" y="3570677"/>
                </a:cubicBezTo>
                <a:cubicBezTo>
                  <a:pt x="1186102" y="3582018"/>
                  <a:pt x="1284558" y="3587688"/>
                  <a:pt x="1385590" y="3587688"/>
                </a:cubicBezTo>
                <a:cubicBezTo>
                  <a:pt x="1579408" y="3587688"/>
                  <a:pt x="1728895" y="3546965"/>
                  <a:pt x="1834051" y="3465521"/>
                </a:cubicBezTo>
                <a:cubicBezTo>
                  <a:pt x="1939207" y="3384076"/>
                  <a:pt x="1991786" y="3269126"/>
                  <a:pt x="1991786" y="3120670"/>
                </a:cubicBezTo>
                <a:cubicBezTo>
                  <a:pt x="1991786" y="3046442"/>
                  <a:pt x="1974260" y="2979430"/>
                  <a:pt x="1939207" y="2919635"/>
                </a:cubicBezTo>
                <a:cubicBezTo>
                  <a:pt x="1904155" y="2859840"/>
                  <a:pt x="1853639" y="2805716"/>
                  <a:pt x="1787659" y="2757261"/>
                </a:cubicBezTo>
                <a:cubicBezTo>
                  <a:pt x="1721678" y="2708807"/>
                  <a:pt x="1642295" y="2663961"/>
                  <a:pt x="1549510" y="2622723"/>
                </a:cubicBezTo>
                <a:cubicBezTo>
                  <a:pt x="1456725" y="2581486"/>
                  <a:pt x="1353631" y="2542309"/>
                  <a:pt x="1240227" y="2505195"/>
                </a:cubicBezTo>
                <a:cubicBezTo>
                  <a:pt x="1050533" y="2441277"/>
                  <a:pt x="879396" y="2370142"/>
                  <a:pt x="726816" y="2291790"/>
                </a:cubicBezTo>
                <a:cubicBezTo>
                  <a:pt x="574236" y="2213438"/>
                  <a:pt x="444338" y="2123231"/>
                  <a:pt x="337119" y="2021167"/>
                </a:cubicBezTo>
                <a:cubicBezTo>
                  <a:pt x="229901" y="1919103"/>
                  <a:pt x="146910" y="1803638"/>
                  <a:pt x="88146" y="1674769"/>
                </a:cubicBezTo>
                <a:cubicBezTo>
                  <a:pt x="29382" y="1545901"/>
                  <a:pt x="0" y="1400023"/>
                  <a:pt x="0" y="1237133"/>
                </a:cubicBezTo>
                <a:cubicBezTo>
                  <a:pt x="0" y="1051563"/>
                  <a:pt x="35568" y="883004"/>
                  <a:pt x="106703" y="731455"/>
                </a:cubicBezTo>
                <a:cubicBezTo>
                  <a:pt x="177838" y="579906"/>
                  <a:pt x="278871" y="450007"/>
                  <a:pt x="409801" y="341758"/>
                </a:cubicBezTo>
                <a:cubicBezTo>
                  <a:pt x="540731" y="233509"/>
                  <a:pt x="698465" y="149487"/>
                  <a:pt x="883005" y="89692"/>
                </a:cubicBezTo>
                <a:cubicBezTo>
                  <a:pt x="1067544" y="29897"/>
                  <a:pt x="1274248" y="0"/>
                  <a:pt x="150311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723999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CB6216-D4A1-49F4-B65A-D084489E9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8076" y="1974802"/>
            <a:ext cx="4567602" cy="3539566"/>
          </a:xfrm>
          <a:custGeom>
            <a:avLst/>
            <a:gdLst/>
            <a:ahLst/>
            <a:cxnLst/>
            <a:rect l="l" t="t" r="r" b="b"/>
            <a:pathLst>
              <a:path w="5427925" h="4206255">
                <a:moveTo>
                  <a:pt x="0" y="0"/>
                </a:moveTo>
                <a:lnTo>
                  <a:pt x="964964" y="0"/>
                </a:lnTo>
                <a:lnTo>
                  <a:pt x="1475282" y="3046442"/>
                </a:lnTo>
                <a:lnTo>
                  <a:pt x="2325811" y="0"/>
                </a:lnTo>
                <a:lnTo>
                  <a:pt x="3111391" y="0"/>
                </a:lnTo>
                <a:lnTo>
                  <a:pt x="3955735" y="3052628"/>
                </a:lnTo>
                <a:lnTo>
                  <a:pt x="4475331" y="0"/>
                </a:lnTo>
                <a:lnTo>
                  <a:pt x="5427925" y="0"/>
                </a:lnTo>
                <a:lnTo>
                  <a:pt x="4527909" y="4206255"/>
                </a:lnTo>
                <a:lnTo>
                  <a:pt x="3525831" y="4206255"/>
                </a:lnTo>
                <a:lnTo>
                  <a:pt x="2721694" y="1348476"/>
                </a:lnTo>
                <a:lnTo>
                  <a:pt x="1905186" y="4206255"/>
                </a:lnTo>
                <a:lnTo>
                  <a:pt x="909293" y="420625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1155824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033A1A-8305-4525-BD6A-A04ABAD3CB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58077" y="1264016"/>
            <a:ext cx="3906250" cy="4329968"/>
          </a:xfrm>
          <a:custGeom>
            <a:avLst/>
            <a:gdLst/>
            <a:ahLst/>
            <a:cxnLst/>
            <a:rect l="l" t="t" r="r" b="b"/>
            <a:pathLst>
              <a:path w="3906250" h="4329968">
                <a:moveTo>
                  <a:pt x="1951578" y="674238"/>
                </a:moveTo>
                <a:cubicBezTo>
                  <a:pt x="1792813" y="674238"/>
                  <a:pt x="1650027" y="707228"/>
                  <a:pt x="1523221" y="773208"/>
                </a:cubicBezTo>
                <a:cubicBezTo>
                  <a:pt x="1396415" y="839189"/>
                  <a:pt x="1289196" y="935582"/>
                  <a:pt x="1201566" y="1062388"/>
                </a:cubicBezTo>
                <a:cubicBezTo>
                  <a:pt x="1113935" y="1189195"/>
                  <a:pt x="1046409" y="1344867"/>
                  <a:pt x="998985" y="1529406"/>
                </a:cubicBezTo>
                <a:cubicBezTo>
                  <a:pt x="951562" y="1713945"/>
                  <a:pt x="927850" y="1925805"/>
                  <a:pt x="927850" y="2164984"/>
                </a:cubicBezTo>
                <a:cubicBezTo>
                  <a:pt x="927850" y="2404163"/>
                  <a:pt x="951562" y="2616022"/>
                  <a:pt x="998985" y="2800561"/>
                </a:cubicBezTo>
                <a:cubicBezTo>
                  <a:pt x="1046409" y="2985100"/>
                  <a:pt x="1113935" y="3140773"/>
                  <a:pt x="1201566" y="3267579"/>
                </a:cubicBezTo>
                <a:cubicBezTo>
                  <a:pt x="1289196" y="3394385"/>
                  <a:pt x="1396415" y="3490779"/>
                  <a:pt x="1523221" y="3556759"/>
                </a:cubicBezTo>
                <a:cubicBezTo>
                  <a:pt x="1650027" y="3622739"/>
                  <a:pt x="1792813" y="3655730"/>
                  <a:pt x="1951578" y="3655730"/>
                </a:cubicBezTo>
                <a:cubicBezTo>
                  <a:pt x="2112406" y="3655730"/>
                  <a:pt x="2256738" y="3622739"/>
                  <a:pt x="2384575" y="3556759"/>
                </a:cubicBezTo>
                <a:cubicBezTo>
                  <a:pt x="2512412" y="3490779"/>
                  <a:pt x="2620146" y="3394385"/>
                  <a:pt x="2707776" y="3267579"/>
                </a:cubicBezTo>
                <a:cubicBezTo>
                  <a:pt x="2795406" y="3140773"/>
                  <a:pt x="2862418" y="2985100"/>
                  <a:pt x="2908810" y="2800561"/>
                </a:cubicBezTo>
                <a:cubicBezTo>
                  <a:pt x="2955203" y="2616022"/>
                  <a:pt x="2978399" y="2404163"/>
                  <a:pt x="2978399" y="2164984"/>
                </a:cubicBezTo>
                <a:cubicBezTo>
                  <a:pt x="2978399" y="1925805"/>
                  <a:pt x="2955203" y="1713945"/>
                  <a:pt x="2908810" y="1529406"/>
                </a:cubicBezTo>
                <a:cubicBezTo>
                  <a:pt x="2862418" y="1344867"/>
                  <a:pt x="2795406" y="1189195"/>
                  <a:pt x="2707776" y="1062388"/>
                </a:cubicBezTo>
                <a:cubicBezTo>
                  <a:pt x="2620146" y="935582"/>
                  <a:pt x="2512412" y="839189"/>
                  <a:pt x="2384575" y="773208"/>
                </a:cubicBezTo>
                <a:cubicBezTo>
                  <a:pt x="2256738" y="707228"/>
                  <a:pt x="2112406" y="674238"/>
                  <a:pt x="1951578" y="674238"/>
                </a:cubicBezTo>
                <a:close/>
                <a:moveTo>
                  <a:pt x="1951578" y="0"/>
                </a:moveTo>
                <a:cubicBezTo>
                  <a:pt x="2250552" y="0"/>
                  <a:pt x="2520144" y="50516"/>
                  <a:pt x="2760354" y="151549"/>
                </a:cubicBezTo>
                <a:cubicBezTo>
                  <a:pt x="3000564" y="252581"/>
                  <a:pt x="3205723" y="396914"/>
                  <a:pt x="3375828" y="584546"/>
                </a:cubicBezTo>
                <a:cubicBezTo>
                  <a:pt x="3545934" y="772177"/>
                  <a:pt x="3676864" y="999501"/>
                  <a:pt x="3768618" y="1266515"/>
                </a:cubicBezTo>
                <a:cubicBezTo>
                  <a:pt x="3860373" y="1533530"/>
                  <a:pt x="3906250" y="1833020"/>
                  <a:pt x="3906250" y="2164984"/>
                </a:cubicBezTo>
                <a:cubicBezTo>
                  <a:pt x="3906250" y="2499010"/>
                  <a:pt x="3860373" y="2799530"/>
                  <a:pt x="3768618" y="3066545"/>
                </a:cubicBezTo>
                <a:cubicBezTo>
                  <a:pt x="3676864" y="3333560"/>
                  <a:pt x="3545934" y="3560883"/>
                  <a:pt x="3375828" y="3748515"/>
                </a:cubicBezTo>
                <a:cubicBezTo>
                  <a:pt x="3205723" y="3936147"/>
                  <a:pt x="3000564" y="4079964"/>
                  <a:pt x="2760354" y="4179965"/>
                </a:cubicBezTo>
                <a:cubicBezTo>
                  <a:pt x="2520144" y="4279967"/>
                  <a:pt x="2250552" y="4329968"/>
                  <a:pt x="1951578" y="4329968"/>
                </a:cubicBezTo>
                <a:cubicBezTo>
                  <a:pt x="1654666" y="4329968"/>
                  <a:pt x="1385590" y="4279967"/>
                  <a:pt x="1144349" y="4179965"/>
                </a:cubicBezTo>
                <a:cubicBezTo>
                  <a:pt x="903107" y="4079964"/>
                  <a:pt x="697949" y="3936147"/>
                  <a:pt x="528874" y="3748515"/>
                </a:cubicBezTo>
                <a:cubicBezTo>
                  <a:pt x="359799" y="3560883"/>
                  <a:pt x="229385" y="3333560"/>
                  <a:pt x="137631" y="3066545"/>
                </a:cubicBezTo>
                <a:cubicBezTo>
                  <a:pt x="45877" y="2799530"/>
                  <a:pt x="0" y="2499010"/>
                  <a:pt x="0" y="2164984"/>
                </a:cubicBezTo>
                <a:cubicBezTo>
                  <a:pt x="0" y="1833020"/>
                  <a:pt x="45877" y="1533530"/>
                  <a:pt x="137631" y="1266515"/>
                </a:cubicBezTo>
                <a:cubicBezTo>
                  <a:pt x="229385" y="999501"/>
                  <a:pt x="359799" y="772177"/>
                  <a:pt x="528874" y="584546"/>
                </a:cubicBezTo>
                <a:cubicBezTo>
                  <a:pt x="697949" y="396914"/>
                  <a:pt x="903107" y="252581"/>
                  <a:pt x="1144349" y="151549"/>
                </a:cubicBezTo>
                <a:cubicBezTo>
                  <a:pt x="1385590" y="50516"/>
                  <a:pt x="1654666" y="0"/>
                  <a:pt x="195157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92998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38333-3F66-45EB-A0C1-D06AC4D492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35302" y="1325872"/>
            <a:ext cx="3309332" cy="4206255"/>
          </a:xfrm>
          <a:custGeom>
            <a:avLst/>
            <a:gdLst/>
            <a:ahLst/>
            <a:cxnLst/>
            <a:rect l="l" t="t" r="r" b="b"/>
            <a:pathLst>
              <a:path w="3309332" h="4206255">
                <a:moveTo>
                  <a:pt x="0" y="0"/>
                </a:moveTo>
                <a:lnTo>
                  <a:pt x="3309332" y="0"/>
                </a:lnTo>
                <a:lnTo>
                  <a:pt x="3309332" y="680424"/>
                </a:lnTo>
                <a:lnTo>
                  <a:pt x="2118591" y="680424"/>
                </a:lnTo>
                <a:lnTo>
                  <a:pt x="2118591" y="4206255"/>
                </a:lnTo>
                <a:lnTo>
                  <a:pt x="1193833" y="4206255"/>
                </a:lnTo>
                <a:lnTo>
                  <a:pt x="1193833" y="680424"/>
                </a:lnTo>
                <a:lnTo>
                  <a:pt x="0" y="68042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62301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1819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9A3A847-320F-4170-84EB-5FA3E739402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76363" y="3173413"/>
            <a:ext cx="3827462" cy="243998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3F74A202-EAFC-4376-B285-4B797A2A57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95829" y="4170459"/>
            <a:ext cx="2508007" cy="156994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9744044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802659-9AC1-4855-B252-2AF9D5781B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08100" y="2590800"/>
            <a:ext cx="4787900" cy="2921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6808542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535BB41A-EDA0-4F84-BB65-5F168F39B9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80300" y="0"/>
            <a:ext cx="4711700" cy="6858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3989640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11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58372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A4C41962-99CC-4529-B02B-DF3DDE623F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</a:defRPr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6443540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E334CA-FF48-466B-A81C-595CA6C65D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395963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72474BE8-8944-4D4F-86CD-D0691F3334A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96584" y="0"/>
            <a:ext cx="5395415" cy="6858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488182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535BB41A-EDA0-4F84-BB65-5F168F39B9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95415" cy="6858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175967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F770D59-076C-4485-B67C-BF45E9952E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12192000" cy="3429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573239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FA298F-4903-4AE2-A1DD-DBC1638B8C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92773" y="586853"/>
            <a:ext cx="5006453" cy="2678374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822203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EF0E1F-1003-4D5E-AF9B-1CBCC621DE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98728" y="750626"/>
            <a:ext cx="2101756" cy="2101756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FB52B41-22B4-483F-96E1-B011E3A8B09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45122" y="750626"/>
            <a:ext cx="2101756" cy="2101756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AF90B6-6A8C-4519-AD5C-90798D9AD2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91516" y="750626"/>
            <a:ext cx="2101756" cy="2101756"/>
          </a:xfrm>
          <a:custGeom>
            <a:avLst/>
            <a:gdLst>
              <a:gd name="connsiteX0" fmla="*/ 0 w 1774209"/>
              <a:gd name="connsiteY0" fmla="*/ 0 h 1774209"/>
              <a:gd name="connsiteX1" fmla="*/ 1774209 w 1774209"/>
              <a:gd name="connsiteY1" fmla="*/ 0 h 1774209"/>
              <a:gd name="connsiteX2" fmla="*/ 1774209 w 1774209"/>
              <a:gd name="connsiteY2" fmla="*/ 1774209 h 1774209"/>
              <a:gd name="connsiteX3" fmla="*/ 0 w 1774209"/>
              <a:gd name="connsiteY3" fmla="*/ 1774209 h 1774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4209" h="1774209">
                <a:moveTo>
                  <a:pt x="0" y="0"/>
                </a:moveTo>
                <a:lnTo>
                  <a:pt x="1774209" y="0"/>
                </a:lnTo>
                <a:lnTo>
                  <a:pt x="1774209" y="1774209"/>
                </a:lnTo>
                <a:lnTo>
                  <a:pt x="0" y="177420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600"/>
            </a:lvl1pPr>
          </a:lstStyle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5167268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dessin, alimentation&#10;&#10;Description générée automatiquement">
            <a:extLst>
              <a:ext uri="{FF2B5EF4-FFF2-40B4-BE49-F238E27FC236}">
                <a16:creationId xmlns:a16="http://schemas.microsoft.com/office/drawing/2014/main" id="{DF4FFB2B-A0D0-4EAD-8624-F7F99214B370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3621" y="6398029"/>
            <a:ext cx="1127760" cy="56388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8D2EF3D6-EF17-4DF0-852E-2C49BD313577}"/>
              </a:ext>
            </a:extLst>
          </p:cNvPr>
          <p:cNvSpPr txBox="1"/>
          <p:nvPr userDrawn="1"/>
        </p:nvSpPr>
        <p:spPr>
          <a:xfrm rot="16200000">
            <a:off x="8649749" y="2669416"/>
            <a:ext cx="77308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>
                <a:solidFill>
                  <a:schemeClr val="tx1">
                    <a:lumMod val="25000"/>
                    <a:lumOff val="75000"/>
                  </a:schemeClr>
                </a:solidFill>
              </a:rPr>
              <a:t>By Louis-Guillaume MORAND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1909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4" r:id="rId6"/>
    <p:sldLayoutId id="2147483659" r:id="rId7"/>
    <p:sldLayoutId id="2147483660" r:id="rId8"/>
    <p:sldLayoutId id="2147483661" r:id="rId9"/>
    <p:sldLayoutId id="2147483662" r:id="rId10"/>
    <p:sldLayoutId id="2147483655" r:id="rId11"/>
    <p:sldLayoutId id="2147483656" r:id="rId12"/>
    <p:sldLayoutId id="2147483657" r:id="rId13"/>
    <p:sldLayoutId id="2147483658" r:id="rId14"/>
    <p:sldLayoutId id="2147483667" r:id="rId15"/>
    <p:sldLayoutId id="2147483663" r:id="rId16"/>
    <p:sldLayoutId id="2147483664" r:id="rId17"/>
    <p:sldLayoutId id="2147483665" r:id="rId18"/>
    <p:sldLayoutId id="2147483666" r:id="rId19"/>
    <p:sldLayoutId id="2147483668" r:id="rId20"/>
    <p:sldLayoutId id="2147483669" r:id="rId21"/>
    <p:sldLayoutId id="2147483670" r:id="rId22"/>
    <p:sldLayoutId id="2147483671" r:id="rId23"/>
    <p:sldLayoutId id="2147483672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1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azure/devops/pipelines/build/variables?view=azure-devops&amp;tabs=yam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icrosoft/azure-pipelines-tasks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15247C0-483A-44EC-87AF-490676F4CB86}"/>
              </a:ext>
            </a:extLst>
          </p:cNvPr>
          <p:cNvSpPr/>
          <p:nvPr/>
        </p:nvSpPr>
        <p:spPr>
          <a:xfrm>
            <a:off x="0" y="0"/>
            <a:ext cx="12192000" cy="65024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6F4DE1-4652-42DD-A3B5-29E4161F17FA}"/>
              </a:ext>
            </a:extLst>
          </p:cNvPr>
          <p:cNvSpPr txBox="1"/>
          <p:nvPr/>
        </p:nvSpPr>
        <p:spPr>
          <a:xfrm>
            <a:off x="3649208" y="2798057"/>
            <a:ext cx="510973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b="1" dirty="0">
                <a:solidFill>
                  <a:schemeClr val="bg1"/>
                </a:solidFill>
                <a:latin typeface="Amble" pitchFamily="2" charset="0"/>
              </a:rPr>
              <a:t>Azure DevOps</a:t>
            </a:r>
            <a:endParaRPr lang="en-ID" sz="6600" b="1" dirty="0">
              <a:solidFill>
                <a:schemeClr val="accent1"/>
              </a:solidFill>
              <a:latin typeface="Amble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184B55-D5C7-4EC2-97BC-F7DB58C33F81}"/>
              </a:ext>
            </a:extLst>
          </p:cNvPr>
          <p:cNvSpPr txBox="1"/>
          <p:nvPr/>
        </p:nvSpPr>
        <p:spPr>
          <a:xfrm>
            <a:off x="4812926" y="3721388"/>
            <a:ext cx="2198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Lato" panose="020F0502020204030203" pitchFamily="34" charset="0"/>
              </a:rPr>
              <a:t>PIPELINE DECORATORS</a:t>
            </a:r>
            <a:endParaRPr lang="en-ID" sz="14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CE6C700-7D75-456E-91E9-880D5593ECBC}"/>
              </a:ext>
            </a:extLst>
          </p:cNvPr>
          <p:cNvSpPr txBox="1"/>
          <p:nvPr/>
        </p:nvSpPr>
        <p:spPr>
          <a:xfrm>
            <a:off x="3772250" y="5911516"/>
            <a:ext cx="46475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rgbClr val="FFFFFF"/>
                </a:solidFill>
              </a:rPr>
              <a:t>Louis-Guillaume MORAND</a:t>
            </a:r>
          </a:p>
        </p:txBody>
      </p:sp>
    </p:spTree>
    <p:extLst>
      <p:ext uri="{BB962C8B-B14F-4D97-AF65-F5344CB8AC3E}">
        <p14:creationId xmlns:p14="http://schemas.microsoft.com/office/powerpoint/2010/main" val="880757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Future </a:t>
            </a:r>
            <a:r>
              <a:rPr lang="en-US" sz="3600" b="1" dirty="0">
                <a:solidFill>
                  <a:schemeClr val="tx2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of microservic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23410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9EE76-42AE-45AA-867B-91361554F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focuse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F9DC480-C560-4062-B257-16AAC3A4223D}"/>
              </a:ext>
            </a:extLst>
          </p:cNvPr>
          <p:cNvSpPr/>
          <p:nvPr/>
        </p:nvSpPr>
        <p:spPr>
          <a:xfrm>
            <a:off x="588263" y="1333062"/>
            <a:ext cx="9079364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932742">
              <a:spcBef>
                <a:spcPct val="0"/>
              </a:spcBef>
              <a:spcAft>
                <a:spcPts val="1800"/>
              </a:spcAft>
              <a:defRPr/>
            </a:pPr>
            <a:r>
              <a:rPr lang="en-US" sz="1800">
                <a:ln w="3175">
                  <a:noFill/>
                </a:ln>
                <a:latin typeface="Segoe UI" panose="020B0502040204020203" pitchFamily="34" charset="0"/>
                <a:cs typeface="Segoe UI" pitchFamily="34" charset="0"/>
              </a:rPr>
              <a:t>Describes application components and operations as first-class concepts without having to stitch together individual container primitives</a:t>
            </a:r>
          </a:p>
          <a:p>
            <a:pPr lvl="0" defTabSz="932742">
              <a:spcBef>
                <a:spcPct val="0"/>
              </a:spcBef>
              <a:spcAft>
                <a:spcPts val="1800"/>
              </a:spcAft>
              <a:defRPr/>
            </a:pPr>
            <a:r>
              <a:rPr lang="en-US" sz="1800">
                <a:ln w="3175">
                  <a:noFill/>
                </a:ln>
                <a:latin typeface="Segoe UI" panose="020B0502040204020203" pitchFamily="34" charset="0"/>
                <a:cs typeface="Segoe UI" pitchFamily="34" charset="0"/>
              </a:rPr>
              <a:t>Flexible application modeling supports a wide range of application architectures</a:t>
            </a:r>
          </a:p>
          <a:p>
            <a:pPr lvl="0" defTabSz="932742">
              <a:spcBef>
                <a:spcPct val="0"/>
              </a:spcBef>
              <a:spcAft>
                <a:spcPts val="1800"/>
              </a:spcAft>
              <a:defRPr/>
            </a:pPr>
            <a:r>
              <a:rPr lang="en-US" sz="1800">
                <a:ln w="3175">
                  <a:noFill/>
                </a:ln>
                <a:latin typeface="Segoe UI" panose="020B0502040204020203" pitchFamily="34" charset="0"/>
                <a:cs typeface="Segoe UI" pitchFamily="34" charset="0"/>
              </a:rPr>
              <a:t>Small and simple applications are easy, large and complex applications are manageab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0DD2D76-5F61-461E-A06C-5ADA38835EC5}"/>
              </a:ext>
            </a:extLst>
          </p:cNvPr>
          <p:cNvGrpSpPr/>
          <p:nvPr/>
        </p:nvGrpSpPr>
        <p:grpSpPr>
          <a:xfrm>
            <a:off x="11368595" y="506683"/>
            <a:ext cx="414460" cy="317866"/>
            <a:chOff x="9005192" y="4227216"/>
            <a:chExt cx="585787" cy="449262"/>
          </a:xfrm>
          <a:solidFill>
            <a:schemeClr val="bg2">
              <a:lumMod val="90000"/>
            </a:schemeClr>
          </a:solidFill>
        </p:grpSpPr>
        <p:grpSp>
          <p:nvGrpSpPr>
            <p:cNvPr id="5" name="Group 47">
              <a:extLst>
                <a:ext uri="{FF2B5EF4-FFF2-40B4-BE49-F238E27FC236}">
                  <a16:creationId xmlns:a16="http://schemas.microsoft.com/office/drawing/2014/main" id="{9B1CE42F-96D7-4C64-833F-1382BAE68C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05192" y="4227216"/>
              <a:ext cx="585787" cy="449262"/>
              <a:chOff x="5397" y="362"/>
              <a:chExt cx="369" cy="283"/>
            </a:xfrm>
            <a:grpFill/>
          </p:grpSpPr>
          <p:sp>
            <p:nvSpPr>
              <p:cNvPr id="7" name="Freeform 49">
                <a:extLst>
                  <a:ext uri="{FF2B5EF4-FFF2-40B4-BE49-F238E27FC236}">
                    <a16:creationId xmlns:a16="http://schemas.microsoft.com/office/drawing/2014/main" id="{BD765893-7F76-4393-AC5E-F79F750588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362"/>
                <a:ext cx="328" cy="280"/>
              </a:xfrm>
              <a:custGeom>
                <a:avLst/>
                <a:gdLst>
                  <a:gd name="T0" fmla="*/ 0 w 664"/>
                  <a:gd name="T1" fmla="*/ 0 h 572"/>
                  <a:gd name="T2" fmla="*/ 0 w 664"/>
                  <a:gd name="T3" fmla="*/ 0 h 572"/>
                  <a:gd name="T4" fmla="*/ 0 w 664"/>
                  <a:gd name="T5" fmla="*/ 218 h 572"/>
                  <a:gd name="T6" fmla="*/ 52 w 664"/>
                  <a:gd name="T7" fmla="*/ 218 h 572"/>
                  <a:gd name="T8" fmla="*/ 52 w 664"/>
                  <a:gd name="T9" fmla="*/ 51 h 572"/>
                  <a:gd name="T10" fmla="*/ 612 w 664"/>
                  <a:gd name="T11" fmla="*/ 51 h 572"/>
                  <a:gd name="T12" fmla="*/ 612 w 664"/>
                  <a:gd name="T13" fmla="*/ 416 h 572"/>
                  <a:gd name="T14" fmla="*/ 153 w 664"/>
                  <a:gd name="T15" fmla="*/ 416 h 572"/>
                  <a:gd name="T16" fmla="*/ 153 w 664"/>
                  <a:gd name="T17" fmla="*/ 468 h 572"/>
                  <a:gd name="T18" fmla="*/ 300 w 664"/>
                  <a:gd name="T19" fmla="*/ 468 h 572"/>
                  <a:gd name="T20" fmla="*/ 300 w 664"/>
                  <a:gd name="T21" fmla="*/ 520 h 572"/>
                  <a:gd name="T22" fmla="*/ 195 w 664"/>
                  <a:gd name="T23" fmla="*/ 520 h 572"/>
                  <a:gd name="T24" fmla="*/ 195 w 664"/>
                  <a:gd name="T25" fmla="*/ 572 h 572"/>
                  <a:gd name="T26" fmla="*/ 456 w 664"/>
                  <a:gd name="T27" fmla="*/ 572 h 572"/>
                  <a:gd name="T28" fmla="*/ 456 w 664"/>
                  <a:gd name="T29" fmla="*/ 520 h 572"/>
                  <a:gd name="T30" fmla="*/ 352 w 664"/>
                  <a:gd name="T31" fmla="*/ 520 h 572"/>
                  <a:gd name="T32" fmla="*/ 352 w 664"/>
                  <a:gd name="T33" fmla="*/ 468 h 572"/>
                  <a:gd name="T34" fmla="*/ 664 w 664"/>
                  <a:gd name="T35" fmla="*/ 468 h 572"/>
                  <a:gd name="T36" fmla="*/ 664 w 664"/>
                  <a:gd name="T37" fmla="*/ 0 h 572"/>
                  <a:gd name="T38" fmla="*/ 0 w 664"/>
                  <a:gd name="T39" fmla="*/ 0 h 5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64" h="572">
                    <a:moveTo>
                      <a:pt x="0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52" y="218"/>
                    </a:lnTo>
                    <a:lnTo>
                      <a:pt x="52" y="51"/>
                    </a:lnTo>
                    <a:lnTo>
                      <a:pt x="612" y="51"/>
                    </a:lnTo>
                    <a:lnTo>
                      <a:pt x="612" y="416"/>
                    </a:lnTo>
                    <a:lnTo>
                      <a:pt x="153" y="416"/>
                    </a:lnTo>
                    <a:lnTo>
                      <a:pt x="153" y="468"/>
                    </a:lnTo>
                    <a:lnTo>
                      <a:pt x="300" y="468"/>
                    </a:lnTo>
                    <a:lnTo>
                      <a:pt x="300" y="520"/>
                    </a:lnTo>
                    <a:lnTo>
                      <a:pt x="195" y="520"/>
                    </a:lnTo>
                    <a:lnTo>
                      <a:pt x="195" y="572"/>
                    </a:lnTo>
                    <a:lnTo>
                      <a:pt x="456" y="572"/>
                    </a:lnTo>
                    <a:lnTo>
                      <a:pt x="456" y="520"/>
                    </a:lnTo>
                    <a:lnTo>
                      <a:pt x="352" y="520"/>
                    </a:lnTo>
                    <a:lnTo>
                      <a:pt x="352" y="468"/>
                    </a:lnTo>
                    <a:lnTo>
                      <a:pt x="664" y="468"/>
                    </a:lnTo>
                    <a:lnTo>
                      <a:pt x="66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50">
                <a:extLst>
                  <a:ext uri="{FF2B5EF4-FFF2-40B4-BE49-F238E27FC236}">
                    <a16:creationId xmlns:a16="http://schemas.microsoft.com/office/drawing/2014/main" id="{09336747-9D88-4715-8C6D-A1BA07E5D1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7" y="494"/>
                <a:ext cx="91" cy="151"/>
              </a:xfrm>
              <a:custGeom>
                <a:avLst/>
                <a:gdLst>
                  <a:gd name="T0" fmla="*/ 134 w 183"/>
                  <a:gd name="T1" fmla="*/ 0 h 307"/>
                  <a:gd name="T2" fmla="*/ 134 w 183"/>
                  <a:gd name="T3" fmla="*/ 0 h 307"/>
                  <a:gd name="T4" fmla="*/ 82 w 183"/>
                  <a:gd name="T5" fmla="*/ 0 h 307"/>
                  <a:gd name="T6" fmla="*/ 0 w 183"/>
                  <a:gd name="T7" fmla="*/ 0 h 307"/>
                  <a:gd name="T8" fmla="*/ 0 w 183"/>
                  <a:gd name="T9" fmla="*/ 307 h 307"/>
                  <a:gd name="T10" fmla="*/ 183 w 183"/>
                  <a:gd name="T11" fmla="*/ 307 h 307"/>
                  <a:gd name="T12" fmla="*/ 183 w 183"/>
                  <a:gd name="T13" fmla="*/ 198 h 307"/>
                  <a:gd name="T14" fmla="*/ 183 w 183"/>
                  <a:gd name="T15" fmla="*/ 146 h 307"/>
                  <a:gd name="T16" fmla="*/ 183 w 183"/>
                  <a:gd name="T17" fmla="*/ 0 h 307"/>
                  <a:gd name="T18" fmla="*/ 134 w 183"/>
                  <a:gd name="T19" fmla="*/ 0 h 307"/>
                  <a:gd name="T20" fmla="*/ 42 w 183"/>
                  <a:gd name="T21" fmla="*/ 50 h 307"/>
                  <a:gd name="T22" fmla="*/ 42 w 183"/>
                  <a:gd name="T23" fmla="*/ 50 h 307"/>
                  <a:gd name="T24" fmla="*/ 82 w 183"/>
                  <a:gd name="T25" fmla="*/ 50 h 307"/>
                  <a:gd name="T26" fmla="*/ 134 w 183"/>
                  <a:gd name="T27" fmla="*/ 50 h 307"/>
                  <a:gd name="T28" fmla="*/ 141 w 183"/>
                  <a:gd name="T29" fmla="*/ 50 h 307"/>
                  <a:gd name="T30" fmla="*/ 141 w 183"/>
                  <a:gd name="T31" fmla="*/ 146 h 307"/>
                  <a:gd name="T32" fmla="*/ 141 w 183"/>
                  <a:gd name="T33" fmla="*/ 198 h 307"/>
                  <a:gd name="T34" fmla="*/ 141 w 183"/>
                  <a:gd name="T35" fmla="*/ 257 h 307"/>
                  <a:gd name="T36" fmla="*/ 42 w 183"/>
                  <a:gd name="T37" fmla="*/ 257 h 307"/>
                  <a:gd name="T38" fmla="*/ 42 w 183"/>
                  <a:gd name="T39" fmla="*/ 5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3" h="307">
                    <a:moveTo>
                      <a:pt x="134" y="0"/>
                    </a:moveTo>
                    <a:lnTo>
                      <a:pt x="134" y="0"/>
                    </a:lnTo>
                    <a:lnTo>
                      <a:pt x="82" y="0"/>
                    </a:lnTo>
                    <a:lnTo>
                      <a:pt x="0" y="0"/>
                    </a:lnTo>
                    <a:lnTo>
                      <a:pt x="0" y="307"/>
                    </a:lnTo>
                    <a:lnTo>
                      <a:pt x="183" y="307"/>
                    </a:lnTo>
                    <a:lnTo>
                      <a:pt x="183" y="198"/>
                    </a:lnTo>
                    <a:lnTo>
                      <a:pt x="183" y="146"/>
                    </a:lnTo>
                    <a:lnTo>
                      <a:pt x="183" y="0"/>
                    </a:lnTo>
                    <a:lnTo>
                      <a:pt x="134" y="0"/>
                    </a:lnTo>
                    <a:close/>
                    <a:moveTo>
                      <a:pt x="42" y="50"/>
                    </a:moveTo>
                    <a:lnTo>
                      <a:pt x="42" y="50"/>
                    </a:lnTo>
                    <a:lnTo>
                      <a:pt x="82" y="50"/>
                    </a:lnTo>
                    <a:lnTo>
                      <a:pt x="134" y="50"/>
                    </a:lnTo>
                    <a:lnTo>
                      <a:pt x="141" y="50"/>
                    </a:lnTo>
                    <a:lnTo>
                      <a:pt x="141" y="146"/>
                    </a:lnTo>
                    <a:lnTo>
                      <a:pt x="141" y="198"/>
                    </a:lnTo>
                    <a:lnTo>
                      <a:pt x="141" y="257"/>
                    </a:lnTo>
                    <a:lnTo>
                      <a:pt x="42" y="257"/>
                    </a:lnTo>
                    <a:lnTo>
                      <a:pt x="42" y="5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" name="cloud">
              <a:extLst>
                <a:ext uri="{FF2B5EF4-FFF2-40B4-BE49-F238E27FC236}">
                  <a16:creationId xmlns:a16="http://schemas.microsoft.com/office/drawing/2014/main" id="{7D8AF401-346B-423F-AF1C-790F9A70A19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10271" y="4317673"/>
              <a:ext cx="269290" cy="171562"/>
            </a:xfrm>
            <a:custGeom>
              <a:avLst/>
              <a:gdLst>
                <a:gd name="T0" fmla="*/ 281 w 344"/>
                <a:gd name="T1" fmla="*/ 216 h 217"/>
                <a:gd name="T2" fmla="*/ 281 w 344"/>
                <a:gd name="T3" fmla="*/ 217 h 217"/>
                <a:gd name="T4" fmla="*/ 88 w 344"/>
                <a:gd name="T5" fmla="*/ 217 h 217"/>
                <a:gd name="T6" fmla="*/ 88 w 344"/>
                <a:gd name="T7" fmla="*/ 217 h 217"/>
                <a:gd name="T8" fmla="*/ 86 w 344"/>
                <a:gd name="T9" fmla="*/ 217 h 217"/>
                <a:gd name="T10" fmla="*/ 0 w 344"/>
                <a:gd name="T11" fmla="*/ 130 h 217"/>
                <a:gd name="T12" fmla="*/ 86 w 344"/>
                <a:gd name="T13" fmla="*/ 44 h 217"/>
                <a:gd name="T14" fmla="*/ 104 w 344"/>
                <a:gd name="T15" fmla="*/ 45 h 217"/>
                <a:gd name="T16" fmla="*/ 184 w 344"/>
                <a:gd name="T17" fmla="*/ 0 h 217"/>
                <a:gd name="T18" fmla="*/ 278 w 344"/>
                <a:gd name="T19" fmla="*/ 85 h 217"/>
                <a:gd name="T20" fmla="*/ 278 w 344"/>
                <a:gd name="T21" fmla="*/ 85 h 217"/>
                <a:gd name="T22" fmla="*/ 344 w 344"/>
                <a:gd name="T23" fmla="*/ 151 h 217"/>
                <a:gd name="T24" fmla="*/ 281 w 344"/>
                <a:gd name="T25" fmla="*/ 216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217">
                  <a:moveTo>
                    <a:pt x="281" y="216"/>
                  </a:moveTo>
                  <a:cubicBezTo>
                    <a:pt x="281" y="217"/>
                    <a:pt x="281" y="217"/>
                    <a:pt x="281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87" y="217"/>
                    <a:pt x="87" y="217"/>
                    <a:pt x="86" y="217"/>
                  </a:cubicBezTo>
                  <a:cubicBezTo>
                    <a:pt x="39" y="217"/>
                    <a:pt x="0" y="178"/>
                    <a:pt x="0" y="130"/>
                  </a:cubicBezTo>
                  <a:cubicBezTo>
                    <a:pt x="0" y="82"/>
                    <a:pt x="39" y="44"/>
                    <a:pt x="86" y="44"/>
                  </a:cubicBezTo>
                  <a:cubicBezTo>
                    <a:pt x="92" y="44"/>
                    <a:pt x="98" y="44"/>
                    <a:pt x="104" y="45"/>
                  </a:cubicBezTo>
                  <a:cubicBezTo>
                    <a:pt x="121" y="18"/>
                    <a:pt x="150" y="0"/>
                    <a:pt x="184" y="0"/>
                  </a:cubicBezTo>
                  <a:cubicBezTo>
                    <a:pt x="233" y="0"/>
                    <a:pt x="273" y="37"/>
                    <a:pt x="278" y="85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315" y="85"/>
                    <a:pt x="344" y="114"/>
                    <a:pt x="344" y="151"/>
                  </a:cubicBezTo>
                  <a:cubicBezTo>
                    <a:pt x="344" y="186"/>
                    <a:pt x="316" y="215"/>
                    <a:pt x="281" y="216"/>
                  </a:cubicBezTo>
                  <a:close/>
                </a:path>
              </a:pathLst>
            </a:custGeom>
            <a:grpFill/>
            <a:ln w="190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18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9" name="Group 4">
            <a:extLst>
              <a:ext uri="{FF2B5EF4-FFF2-40B4-BE49-F238E27FC236}">
                <a16:creationId xmlns:a16="http://schemas.microsoft.com/office/drawing/2014/main" id="{F13CA6AA-0072-465F-B8B3-37A80209AE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583888" y="543135"/>
            <a:ext cx="461278" cy="244962"/>
            <a:chOff x="4144" y="865"/>
            <a:chExt cx="322" cy="171"/>
          </a:xfrm>
          <a:solidFill>
            <a:schemeClr val="bg2">
              <a:lumMod val="90000"/>
            </a:schemeClr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A57B1A7-8159-4878-B796-FBA7868D0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2" y="865"/>
              <a:ext cx="91" cy="91"/>
            </a:xfrm>
            <a:custGeom>
              <a:avLst/>
              <a:gdLst>
                <a:gd name="T0" fmla="*/ 53 w 106"/>
                <a:gd name="T1" fmla="*/ 106 h 106"/>
                <a:gd name="T2" fmla="*/ 53 w 106"/>
                <a:gd name="T3" fmla="*/ 106 h 106"/>
                <a:gd name="T4" fmla="*/ 106 w 106"/>
                <a:gd name="T5" fmla="*/ 53 h 106"/>
                <a:gd name="T6" fmla="*/ 75 w 106"/>
                <a:gd name="T7" fmla="*/ 5 h 106"/>
                <a:gd name="T8" fmla="*/ 53 w 106"/>
                <a:gd name="T9" fmla="*/ 0 h 106"/>
                <a:gd name="T10" fmla="*/ 31 w 106"/>
                <a:gd name="T11" fmla="*/ 5 h 106"/>
                <a:gd name="T12" fmla="*/ 0 w 106"/>
                <a:gd name="T13" fmla="*/ 53 h 106"/>
                <a:gd name="T14" fmla="*/ 53 w 106"/>
                <a:gd name="T1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lnTo>
                    <a:pt x="53" y="106"/>
                  </a:lnTo>
                  <a:cubicBezTo>
                    <a:pt x="82" y="106"/>
                    <a:pt x="106" y="83"/>
                    <a:pt x="106" y="53"/>
                  </a:cubicBezTo>
                  <a:cubicBezTo>
                    <a:pt x="106" y="31"/>
                    <a:pt x="93" y="13"/>
                    <a:pt x="75" y="5"/>
                  </a:cubicBezTo>
                  <a:cubicBezTo>
                    <a:pt x="68" y="2"/>
                    <a:pt x="61" y="0"/>
                    <a:pt x="53" y="0"/>
                  </a:cubicBezTo>
                  <a:cubicBezTo>
                    <a:pt x="45" y="0"/>
                    <a:pt x="38" y="2"/>
                    <a:pt x="31" y="5"/>
                  </a:cubicBezTo>
                  <a:cubicBezTo>
                    <a:pt x="13" y="13"/>
                    <a:pt x="0" y="31"/>
                    <a:pt x="0" y="53"/>
                  </a:cubicBezTo>
                  <a:cubicBezTo>
                    <a:pt x="0" y="83"/>
                    <a:pt x="24" y="106"/>
                    <a:pt x="53" y="1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3D5EF82-F44E-4497-996E-17300BE2F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8" y="967"/>
              <a:ext cx="138" cy="69"/>
            </a:xfrm>
            <a:custGeom>
              <a:avLst/>
              <a:gdLst>
                <a:gd name="T0" fmla="*/ 80 w 160"/>
                <a:gd name="T1" fmla="*/ 0 h 80"/>
                <a:gd name="T2" fmla="*/ 80 w 160"/>
                <a:gd name="T3" fmla="*/ 0 h 80"/>
                <a:gd name="T4" fmla="*/ 0 w 160"/>
                <a:gd name="T5" fmla="*/ 80 h 80"/>
                <a:gd name="T6" fmla="*/ 160 w 160"/>
                <a:gd name="T7" fmla="*/ 80 h 80"/>
                <a:gd name="T8" fmla="*/ 80 w 160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80">
                  <a:moveTo>
                    <a:pt x="80" y="0"/>
                  </a:moveTo>
                  <a:lnTo>
                    <a:pt x="80" y="0"/>
                  </a:lnTo>
                  <a:cubicBezTo>
                    <a:pt x="36" y="0"/>
                    <a:pt x="0" y="36"/>
                    <a:pt x="0" y="80"/>
                  </a:cubicBezTo>
                  <a:lnTo>
                    <a:pt x="160" y="80"/>
                  </a:lnTo>
                  <a:cubicBezTo>
                    <a:pt x="160" y="36"/>
                    <a:pt x="124" y="0"/>
                    <a:pt x="8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EA3ACCD-667A-4F5B-9BCD-C80CC49CA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" y="990"/>
              <a:ext cx="64" cy="46"/>
            </a:xfrm>
            <a:custGeom>
              <a:avLst/>
              <a:gdLst>
                <a:gd name="T0" fmla="*/ 0 w 75"/>
                <a:gd name="T1" fmla="*/ 53 h 53"/>
                <a:gd name="T2" fmla="*/ 0 w 75"/>
                <a:gd name="T3" fmla="*/ 53 h 53"/>
                <a:gd name="T4" fmla="*/ 63 w 75"/>
                <a:gd name="T5" fmla="*/ 53 h 53"/>
                <a:gd name="T6" fmla="*/ 63 w 75"/>
                <a:gd name="T7" fmla="*/ 53 h 53"/>
                <a:gd name="T8" fmla="*/ 75 w 75"/>
                <a:gd name="T9" fmla="*/ 5 h 53"/>
                <a:gd name="T10" fmla="*/ 54 w 75"/>
                <a:gd name="T11" fmla="*/ 0 h 53"/>
                <a:gd name="T12" fmla="*/ 0 w 75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53">
                  <a:moveTo>
                    <a:pt x="0" y="53"/>
                  </a:moveTo>
                  <a:lnTo>
                    <a:pt x="0" y="53"/>
                  </a:lnTo>
                  <a:lnTo>
                    <a:pt x="63" y="53"/>
                  </a:lnTo>
                  <a:lnTo>
                    <a:pt x="63" y="53"/>
                  </a:lnTo>
                  <a:cubicBezTo>
                    <a:pt x="63" y="36"/>
                    <a:pt x="67" y="19"/>
                    <a:pt x="75" y="5"/>
                  </a:cubicBezTo>
                  <a:cubicBezTo>
                    <a:pt x="68" y="2"/>
                    <a:pt x="61" y="0"/>
                    <a:pt x="54" y="0"/>
                  </a:cubicBezTo>
                  <a:cubicBezTo>
                    <a:pt x="24" y="0"/>
                    <a:pt x="0" y="24"/>
                    <a:pt x="0" y="5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E17308D-BEF5-40CA-9168-84268E660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" y="911"/>
              <a:ext cx="68" cy="68"/>
            </a:xfrm>
            <a:custGeom>
              <a:avLst/>
              <a:gdLst>
                <a:gd name="T0" fmla="*/ 40 w 80"/>
                <a:gd name="T1" fmla="*/ 0 h 80"/>
                <a:gd name="T2" fmla="*/ 40 w 80"/>
                <a:gd name="T3" fmla="*/ 0 h 80"/>
                <a:gd name="T4" fmla="*/ 0 w 80"/>
                <a:gd name="T5" fmla="*/ 40 h 80"/>
                <a:gd name="T6" fmla="*/ 14 w 80"/>
                <a:gd name="T7" fmla="*/ 71 h 80"/>
                <a:gd name="T8" fmla="*/ 37 w 80"/>
                <a:gd name="T9" fmla="*/ 80 h 80"/>
                <a:gd name="T10" fmla="*/ 40 w 80"/>
                <a:gd name="T11" fmla="*/ 80 h 80"/>
                <a:gd name="T12" fmla="*/ 42 w 80"/>
                <a:gd name="T13" fmla="*/ 80 h 80"/>
                <a:gd name="T14" fmla="*/ 65 w 80"/>
                <a:gd name="T15" fmla="*/ 71 h 80"/>
                <a:gd name="T16" fmla="*/ 80 w 80"/>
                <a:gd name="T17" fmla="*/ 40 h 80"/>
                <a:gd name="T18" fmla="*/ 40 w 80"/>
                <a:gd name="T1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lnTo>
                    <a:pt x="40" y="0"/>
                  </a:lnTo>
                  <a:cubicBezTo>
                    <a:pt x="17" y="0"/>
                    <a:pt x="0" y="18"/>
                    <a:pt x="0" y="40"/>
                  </a:cubicBezTo>
                  <a:cubicBezTo>
                    <a:pt x="0" y="53"/>
                    <a:pt x="5" y="63"/>
                    <a:pt x="14" y="71"/>
                  </a:cubicBezTo>
                  <a:cubicBezTo>
                    <a:pt x="20" y="76"/>
                    <a:pt x="28" y="80"/>
                    <a:pt x="37" y="80"/>
                  </a:cubicBezTo>
                  <a:cubicBezTo>
                    <a:pt x="38" y="80"/>
                    <a:pt x="39" y="80"/>
                    <a:pt x="40" y="80"/>
                  </a:cubicBezTo>
                  <a:cubicBezTo>
                    <a:pt x="40" y="80"/>
                    <a:pt x="41" y="80"/>
                    <a:pt x="42" y="80"/>
                  </a:cubicBezTo>
                  <a:cubicBezTo>
                    <a:pt x="51" y="80"/>
                    <a:pt x="59" y="76"/>
                    <a:pt x="65" y="71"/>
                  </a:cubicBezTo>
                  <a:cubicBezTo>
                    <a:pt x="74" y="63"/>
                    <a:pt x="80" y="53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F23FB1D-5FBD-4EBD-9DB9-DA4F972D3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" y="899"/>
              <a:ext cx="114" cy="114"/>
            </a:xfrm>
            <a:custGeom>
              <a:avLst/>
              <a:gdLst>
                <a:gd name="T0" fmla="*/ 80 w 133"/>
                <a:gd name="T1" fmla="*/ 53 h 133"/>
                <a:gd name="T2" fmla="*/ 80 w 133"/>
                <a:gd name="T3" fmla="*/ 53 h 133"/>
                <a:gd name="T4" fmla="*/ 80 w 133"/>
                <a:gd name="T5" fmla="*/ 0 h 133"/>
                <a:gd name="T6" fmla="*/ 53 w 133"/>
                <a:gd name="T7" fmla="*/ 0 h 133"/>
                <a:gd name="T8" fmla="*/ 53 w 133"/>
                <a:gd name="T9" fmla="*/ 53 h 133"/>
                <a:gd name="T10" fmla="*/ 0 w 133"/>
                <a:gd name="T11" fmla="*/ 53 h 133"/>
                <a:gd name="T12" fmla="*/ 0 w 133"/>
                <a:gd name="T13" fmla="*/ 80 h 133"/>
                <a:gd name="T14" fmla="*/ 53 w 133"/>
                <a:gd name="T15" fmla="*/ 80 h 133"/>
                <a:gd name="T16" fmla="*/ 53 w 133"/>
                <a:gd name="T17" fmla="*/ 80 h 133"/>
                <a:gd name="T18" fmla="*/ 53 w 133"/>
                <a:gd name="T19" fmla="*/ 133 h 133"/>
                <a:gd name="T20" fmla="*/ 80 w 133"/>
                <a:gd name="T21" fmla="*/ 133 h 133"/>
                <a:gd name="T22" fmla="*/ 80 w 133"/>
                <a:gd name="T23" fmla="*/ 80 h 133"/>
                <a:gd name="T24" fmla="*/ 80 w 133"/>
                <a:gd name="T25" fmla="*/ 80 h 133"/>
                <a:gd name="T26" fmla="*/ 133 w 133"/>
                <a:gd name="T27" fmla="*/ 80 h 133"/>
                <a:gd name="T28" fmla="*/ 133 w 133"/>
                <a:gd name="T29" fmla="*/ 53 h 133"/>
                <a:gd name="T30" fmla="*/ 80 w 133"/>
                <a:gd name="T31" fmla="*/ 5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3" h="133">
                  <a:moveTo>
                    <a:pt x="80" y="53"/>
                  </a:moveTo>
                  <a:lnTo>
                    <a:pt x="80" y="53"/>
                  </a:lnTo>
                  <a:lnTo>
                    <a:pt x="80" y="0"/>
                  </a:lnTo>
                  <a:lnTo>
                    <a:pt x="53" y="0"/>
                  </a:lnTo>
                  <a:lnTo>
                    <a:pt x="53" y="53"/>
                  </a:lnTo>
                  <a:lnTo>
                    <a:pt x="0" y="53"/>
                  </a:lnTo>
                  <a:lnTo>
                    <a:pt x="0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133"/>
                  </a:lnTo>
                  <a:lnTo>
                    <a:pt x="80" y="133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133" y="80"/>
                  </a:lnTo>
                  <a:lnTo>
                    <a:pt x="133" y="53"/>
                  </a:lnTo>
                  <a:lnTo>
                    <a:pt x="80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A2C5660-805F-4FBC-B46C-0E37C0587796}"/>
              </a:ext>
            </a:extLst>
          </p:cNvPr>
          <p:cNvGrpSpPr/>
          <p:nvPr/>
        </p:nvGrpSpPr>
        <p:grpSpPr>
          <a:xfrm>
            <a:off x="9795860" y="526186"/>
            <a:ext cx="368409" cy="294993"/>
            <a:chOff x="8922444" y="4964933"/>
            <a:chExt cx="773468" cy="61933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3E8B66E-41BA-4CDF-95D9-687CB3C9A28B}"/>
                </a:ext>
              </a:extLst>
            </p:cNvPr>
            <p:cNvSpPr/>
            <p:nvPr/>
          </p:nvSpPr>
          <p:spPr bwMode="auto">
            <a:xfrm>
              <a:off x="8988186" y="5039155"/>
              <a:ext cx="634071" cy="479277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294C3656-4DC9-4255-AFE5-1AC3593859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22444" y="4964933"/>
              <a:ext cx="773468" cy="619332"/>
            </a:xfrm>
            <a:custGeom>
              <a:avLst/>
              <a:gdLst>
                <a:gd name="T0" fmla="*/ 240 w 267"/>
                <a:gd name="T1" fmla="*/ 186 h 213"/>
                <a:gd name="T2" fmla="*/ 240 w 267"/>
                <a:gd name="T3" fmla="*/ 186 h 213"/>
                <a:gd name="T4" fmla="*/ 27 w 267"/>
                <a:gd name="T5" fmla="*/ 186 h 213"/>
                <a:gd name="T6" fmla="*/ 27 w 267"/>
                <a:gd name="T7" fmla="*/ 27 h 213"/>
                <a:gd name="T8" fmla="*/ 240 w 267"/>
                <a:gd name="T9" fmla="*/ 27 h 213"/>
                <a:gd name="T10" fmla="*/ 240 w 267"/>
                <a:gd name="T11" fmla="*/ 186 h 213"/>
                <a:gd name="T12" fmla="*/ 259 w 267"/>
                <a:gd name="T13" fmla="*/ 205 h 213"/>
                <a:gd name="T14" fmla="*/ 259 w 267"/>
                <a:gd name="T15" fmla="*/ 205 h 213"/>
                <a:gd name="T16" fmla="*/ 265 w 267"/>
                <a:gd name="T17" fmla="*/ 197 h 213"/>
                <a:gd name="T18" fmla="*/ 267 w 267"/>
                <a:gd name="T19" fmla="*/ 186 h 213"/>
                <a:gd name="T20" fmla="*/ 267 w 267"/>
                <a:gd name="T21" fmla="*/ 26 h 213"/>
                <a:gd name="T22" fmla="*/ 265 w 267"/>
                <a:gd name="T23" fmla="*/ 16 h 213"/>
                <a:gd name="T24" fmla="*/ 259 w 267"/>
                <a:gd name="T25" fmla="*/ 8 h 213"/>
                <a:gd name="T26" fmla="*/ 251 w 267"/>
                <a:gd name="T27" fmla="*/ 2 h 213"/>
                <a:gd name="T28" fmla="*/ 240 w 267"/>
                <a:gd name="T29" fmla="*/ 0 h 213"/>
                <a:gd name="T30" fmla="*/ 27 w 267"/>
                <a:gd name="T31" fmla="*/ 0 h 213"/>
                <a:gd name="T32" fmla="*/ 14 w 267"/>
                <a:gd name="T33" fmla="*/ 4 h 213"/>
                <a:gd name="T34" fmla="*/ 0 w 267"/>
                <a:gd name="T35" fmla="*/ 25 h 213"/>
                <a:gd name="T36" fmla="*/ 0 w 267"/>
                <a:gd name="T37" fmla="*/ 160 h 213"/>
                <a:gd name="T38" fmla="*/ 1 w 267"/>
                <a:gd name="T39" fmla="*/ 160 h 213"/>
                <a:gd name="T40" fmla="*/ 1 w 267"/>
                <a:gd name="T41" fmla="*/ 186 h 213"/>
                <a:gd name="T42" fmla="*/ 3 w 267"/>
                <a:gd name="T43" fmla="*/ 197 h 213"/>
                <a:gd name="T44" fmla="*/ 8 w 267"/>
                <a:gd name="T45" fmla="*/ 205 h 213"/>
                <a:gd name="T46" fmla="*/ 17 w 267"/>
                <a:gd name="T47" fmla="*/ 211 h 213"/>
                <a:gd name="T48" fmla="*/ 27 w 267"/>
                <a:gd name="T49" fmla="*/ 213 h 213"/>
                <a:gd name="T50" fmla="*/ 240 w 267"/>
                <a:gd name="T51" fmla="*/ 213 h 213"/>
                <a:gd name="T52" fmla="*/ 251 w 267"/>
                <a:gd name="T53" fmla="*/ 211 h 213"/>
                <a:gd name="T54" fmla="*/ 259 w 267"/>
                <a:gd name="T55" fmla="*/ 205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7" h="213">
                  <a:moveTo>
                    <a:pt x="240" y="186"/>
                  </a:moveTo>
                  <a:lnTo>
                    <a:pt x="240" y="186"/>
                  </a:lnTo>
                  <a:lnTo>
                    <a:pt x="27" y="186"/>
                  </a:lnTo>
                  <a:lnTo>
                    <a:pt x="27" y="27"/>
                  </a:lnTo>
                  <a:lnTo>
                    <a:pt x="240" y="27"/>
                  </a:lnTo>
                  <a:lnTo>
                    <a:pt x="240" y="186"/>
                  </a:lnTo>
                  <a:close/>
                  <a:moveTo>
                    <a:pt x="259" y="205"/>
                  </a:moveTo>
                  <a:lnTo>
                    <a:pt x="259" y="205"/>
                  </a:lnTo>
                  <a:cubicBezTo>
                    <a:pt x="262" y="203"/>
                    <a:pt x="264" y="200"/>
                    <a:pt x="265" y="197"/>
                  </a:cubicBezTo>
                  <a:cubicBezTo>
                    <a:pt x="266" y="193"/>
                    <a:pt x="267" y="190"/>
                    <a:pt x="267" y="186"/>
                  </a:cubicBezTo>
                  <a:lnTo>
                    <a:pt x="267" y="26"/>
                  </a:lnTo>
                  <a:cubicBezTo>
                    <a:pt x="267" y="22"/>
                    <a:pt x="266" y="19"/>
                    <a:pt x="265" y="16"/>
                  </a:cubicBezTo>
                  <a:cubicBezTo>
                    <a:pt x="263" y="13"/>
                    <a:pt x="261" y="10"/>
                    <a:pt x="259" y="8"/>
                  </a:cubicBezTo>
                  <a:cubicBezTo>
                    <a:pt x="257" y="5"/>
                    <a:pt x="254" y="3"/>
                    <a:pt x="251" y="2"/>
                  </a:cubicBezTo>
                  <a:cubicBezTo>
                    <a:pt x="247" y="1"/>
                    <a:pt x="244" y="0"/>
                    <a:pt x="240" y="0"/>
                  </a:cubicBezTo>
                  <a:lnTo>
                    <a:pt x="27" y="0"/>
                  </a:lnTo>
                  <a:cubicBezTo>
                    <a:pt x="19" y="0"/>
                    <a:pt x="14" y="4"/>
                    <a:pt x="14" y="4"/>
                  </a:cubicBezTo>
                  <a:cubicBezTo>
                    <a:pt x="7" y="8"/>
                    <a:pt x="0" y="13"/>
                    <a:pt x="0" y="25"/>
                  </a:cubicBezTo>
                  <a:lnTo>
                    <a:pt x="0" y="160"/>
                  </a:lnTo>
                  <a:lnTo>
                    <a:pt x="1" y="160"/>
                  </a:lnTo>
                  <a:lnTo>
                    <a:pt x="1" y="186"/>
                  </a:lnTo>
                  <a:cubicBezTo>
                    <a:pt x="1" y="190"/>
                    <a:pt x="1" y="194"/>
                    <a:pt x="3" y="197"/>
                  </a:cubicBezTo>
                  <a:cubicBezTo>
                    <a:pt x="4" y="200"/>
                    <a:pt x="6" y="203"/>
                    <a:pt x="8" y="205"/>
                  </a:cubicBezTo>
                  <a:cubicBezTo>
                    <a:pt x="11" y="208"/>
                    <a:pt x="14" y="210"/>
                    <a:pt x="17" y="211"/>
                  </a:cubicBezTo>
                  <a:cubicBezTo>
                    <a:pt x="20" y="212"/>
                    <a:pt x="23" y="213"/>
                    <a:pt x="27" y="213"/>
                  </a:cubicBezTo>
                  <a:lnTo>
                    <a:pt x="240" y="213"/>
                  </a:lnTo>
                  <a:cubicBezTo>
                    <a:pt x="244" y="213"/>
                    <a:pt x="248" y="212"/>
                    <a:pt x="251" y="211"/>
                  </a:cubicBezTo>
                  <a:cubicBezTo>
                    <a:pt x="254" y="210"/>
                    <a:pt x="257" y="208"/>
                    <a:pt x="259" y="205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DFB2BA8-752A-47EA-881D-D3F07ADFC575}"/>
                </a:ext>
              </a:extLst>
            </p:cNvPr>
            <p:cNvSpPr/>
            <p:nvPr/>
          </p:nvSpPr>
          <p:spPr bwMode="auto">
            <a:xfrm>
              <a:off x="9043949" y="5102553"/>
              <a:ext cx="149412" cy="149412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1E7FAE2-A525-4FA2-BE08-90DBA292C5FF}"/>
                </a:ext>
              </a:extLst>
            </p:cNvPr>
            <p:cNvSpPr/>
            <p:nvPr/>
          </p:nvSpPr>
          <p:spPr bwMode="auto">
            <a:xfrm>
              <a:off x="9234471" y="5102553"/>
              <a:ext cx="149412" cy="149412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E3641F-CCA0-48E3-A90E-62E821593385}"/>
                </a:ext>
              </a:extLst>
            </p:cNvPr>
            <p:cNvSpPr/>
            <p:nvPr/>
          </p:nvSpPr>
          <p:spPr bwMode="auto">
            <a:xfrm>
              <a:off x="9424994" y="5102553"/>
              <a:ext cx="149412" cy="149412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1D1B541-01A0-4E15-A19F-11A65E1914F4}"/>
                </a:ext>
              </a:extLst>
            </p:cNvPr>
            <p:cNvSpPr/>
            <p:nvPr/>
          </p:nvSpPr>
          <p:spPr bwMode="auto">
            <a:xfrm>
              <a:off x="9043949" y="5301898"/>
              <a:ext cx="149412" cy="149412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DF5E1FA-EA91-45CE-ACB4-BC4BD2D9C9FC}"/>
                </a:ext>
              </a:extLst>
            </p:cNvPr>
            <p:cNvSpPr/>
            <p:nvPr/>
          </p:nvSpPr>
          <p:spPr bwMode="auto">
            <a:xfrm>
              <a:off x="9234471" y="5301898"/>
              <a:ext cx="149412" cy="149412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73696619-86F4-4E4F-9F5E-38D6C835707B}"/>
              </a:ext>
            </a:extLst>
          </p:cNvPr>
          <p:cNvSpPr/>
          <p:nvPr/>
        </p:nvSpPr>
        <p:spPr>
          <a:xfrm>
            <a:off x="6750787" y="3363498"/>
            <a:ext cx="4479598" cy="276999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ntainer infrastructur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20E803F-7DA8-4F7A-8235-5237A3E9AC4B}"/>
              </a:ext>
            </a:extLst>
          </p:cNvPr>
          <p:cNvSpPr/>
          <p:nvPr/>
        </p:nvSpPr>
        <p:spPr>
          <a:xfrm>
            <a:off x="925758" y="3363498"/>
            <a:ext cx="4479598" cy="276999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pen Application Model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880C221-F60C-44CB-8706-D6A21752C28B}"/>
              </a:ext>
            </a:extLst>
          </p:cNvPr>
          <p:cNvGrpSpPr/>
          <p:nvPr/>
        </p:nvGrpSpPr>
        <p:grpSpPr>
          <a:xfrm>
            <a:off x="6695858" y="3823488"/>
            <a:ext cx="4589458" cy="2422348"/>
            <a:chOff x="6695858" y="3823488"/>
            <a:chExt cx="4589458" cy="242234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FC3604A-9E67-4CFD-954F-554AE2D94D7E}"/>
                </a:ext>
              </a:extLst>
            </p:cNvPr>
            <p:cNvSpPr/>
            <p:nvPr/>
          </p:nvSpPr>
          <p:spPr bwMode="auto">
            <a:xfrm>
              <a:off x="6695858" y="3823488"/>
              <a:ext cx="4589458" cy="2422348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19050" cap="flat">
              <a:noFill/>
              <a:prstDash val="solid"/>
              <a:miter/>
            </a:ln>
            <a:effectLst>
              <a:outerShdw blurRad="152400" sx="101000" sy="101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chemeClr val="bg1"/>
                </a:solidFill>
                <a:latin typeface="+mj-lt"/>
                <a:cs typeface="Segoe UI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0523894-FCF3-45E1-9E49-806B3CADA371}"/>
                </a:ext>
              </a:extLst>
            </p:cNvPr>
            <p:cNvSpPr/>
            <p:nvPr/>
          </p:nvSpPr>
          <p:spPr>
            <a:xfrm>
              <a:off x="8380583" y="4102608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Service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ADC8BBD-F221-4565-B00A-6D85786A2A2A}"/>
                </a:ext>
              </a:extLst>
            </p:cNvPr>
            <p:cNvSpPr/>
            <p:nvPr/>
          </p:nvSpPr>
          <p:spPr>
            <a:xfrm>
              <a:off x="6974370" y="5626119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Job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2B48D81-E772-4525-BFC5-25D047E1DD7C}"/>
                </a:ext>
              </a:extLst>
            </p:cNvPr>
            <p:cNvSpPr/>
            <p:nvPr/>
          </p:nvSpPr>
          <p:spPr>
            <a:xfrm>
              <a:off x="8380583" y="4616321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Namespac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EB0D58E-70A5-4B79-BA22-13832CB4F988}"/>
                </a:ext>
              </a:extLst>
            </p:cNvPr>
            <p:cNvSpPr/>
            <p:nvPr/>
          </p:nvSpPr>
          <p:spPr>
            <a:xfrm>
              <a:off x="8380583" y="5121220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Secret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632F0F8-DB0E-490F-910C-1589135A1941}"/>
                </a:ext>
              </a:extLst>
            </p:cNvPr>
            <p:cNvSpPr/>
            <p:nvPr/>
          </p:nvSpPr>
          <p:spPr>
            <a:xfrm>
              <a:off x="8380583" y="5626119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Volume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CA92354-C3F2-41E5-AD15-D47EA58FE8FA}"/>
                </a:ext>
              </a:extLst>
            </p:cNvPr>
            <p:cNvSpPr/>
            <p:nvPr/>
          </p:nvSpPr>
          <p:spPr>
            <a:xfrm>
              <a:off x="9805485" y="4102497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Endpoin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2FD2751-20D3-490F-8D7E-11BBCDFDF23F}"/>
                </a:ext>
              </a:extLst>
            </p:cNvPr>
            <p:cNvSpPr/>
            <p:nvPr/>
          </p:nvSpPr>
          <p:spPr>
            <a:xfrm>
              <a:off x="9805485" y="4596748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err="1">
                  <a:solidFill>
                    <a:schemeClr val="tx1"/>
                  </a:solidFill>
                  <a:latin typeface="+mj-lt"/>
                </a:rPr>
                <a:t>ConfigMap</a:t>
              </a:r>
              <a:endParaRPr 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57FF2BB-0BCF-485E-8EDF-796EFC85B929}"/>
                </a:ext>
              </a:extLst>
            </p:cNvPr>
            <p:cNvSpPr/>
            <p:nvPr/>
          </p:nvSpPr>
          <p:spPr>
            <a:xfrm>
              <a:off x="9805485" y="5094602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err="1">
                  <a:solidFill>
                    <a:schemeClr val="tx1"/>
                  </a:solidFill>
                  <a:latin typeface="+mj-lt"/>
                </a:rPr>
                <a:t>VolumeAttach</a:t>
              </a:r>
              <a:endParaRPr 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4450074-49C8-4614-A64C-18713153F83F}"/>
                </a:ext>
              </a:extLst>
            </p:cNvPr>
            <p:cNvSpPr/>
            <p:nvPr/>
          </p:nvSpPr>
          <p:spPr>
            <a:xfrm>
              <a:off x="9805485" y="5610796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err="1">
                  <a:solidFill>
                    <a:schemeClr val="tx1"/>
                  </a:solidFill>
                  <a:latin typeface="+mj-lt"/>
                </a:rPr>
                <a:t>CronJob</a:t>
              </a:r>
              <a:endParaRPr 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0FC44AE-1D58-4F6D-865D-53CAB9746DA1}"/>
                </a:ext>
              </a:extLst>
            </p:cNvPr>
            <p:cNvSpPr/>
            <p:nvPr/>
          </p:nvSpPr>
          <p:spPr>
            <a:xfrm>
              <a:off x="6974370" y="4115098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Deployment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63E70BC-0634-4D48-BA6E-14B26A5B9A08}"/>
                </a:ext>
              </a:extLst>
            </p:cNvPr>
            <p:cNvSpPr/>
            <p:nvPr/>
          </p:nvSpPr>
          <p:spPr>
            <a:xfrm>
              <a:off x="6974370" y="4620448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err="1">
                  <a:solidFill>
                    <a:schemeClr val="tx1"/>
                  </a:solidFill>
                  <a:latin typeface="+mj-lt"/>
                </a:rPr>
                <a:t>ReplicaSet</a:t>
              </a:r>
              <a:endParaRPr lang="en-US" sz="10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C1F113E-07A1-4DAA-84A3-C3089D2E939F}"/>
                </a:ext>
              </a:extLst>
            </p:cNvPr>
            <p:cNvSpPr/>
            <p:nvPr/>
          </p:nvSpPr>
          <p:spPr>
            <a:xfrm>
              <a:off x="6974370" y="5110950"/>
              <a:ext cx="1263625" cy="3521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+mj-lt"/>
                </a:rPr>
                <a:t>Pod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3BC477D-1DC5-4878-98D1-828F2FCA93DC}"/>
              </a:ext>
            </a:extLst>
          </p:cNvPr>
          <p:cNvGrpSpPr/>
          <p:nvPr/>
        </p:nvGrpSpPr>
        <p:grpSpPr>
          <a:xfrm>
            <a:off x="925758" y="3815142"/>
            <a:ext cx="4479598" cy="2422348"/>
            <a:chOff x="925758" y="3815142"/>
            <a:chExt cx="4479598" cy="2422348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56E0038-A201-4F62-83D2-3CF9F25507BA}"/>
                </a:ext>
              </a:extLst>
            </p:cNvPr>
            <p:cNvSpPr/>
            <p:nvPr/>
          </p:nvSpPr>
          <p:spPr bwMode="auto">
            <a:xfrm>
              <a:off x="925758" y="3815142"/>
              <a:ext cx="4479598" cy="2422348"/>
            </a:xfrm>
            <a:prstGeom prst="rect">
              <a:avLst/>
            </a:prstGeom>
            <a:solidFill>
              <a:schemeClr val="accent1"/>
            </a:solidFill>
            <a:ln w="19050" cap="flat">
              <a:noFill/>
              <a:prstDash val="solid"/>
              <a:miter/>
            </a:ln>
            <a:effectLst>
              <a:outerShdw blurRad="152400" sx="101000" sy="101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chemeClr val="bg1"/>
                </a:solidFill>
                <a:latin typeface="+mj-lt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A872760-DCFC-4425-A76F-BA66910EFD97}"/>
                </a:ext>
              </a:extLst>
            </p:cNvPr>
            <p:cNvSpPr/>
            <p:nvPr/>
          </p:nvSpPr>
          <p:spPr bwMode="auto">
            <a:xfrm>
              <a:off x="2146557" y="4042924"/>
              <a:ext cx="2082000" cy="796562"/>
            </a:xfrm>
            <a:prstGeom prst="rect">
              <a:avLst/>
            </a:prstGeom>
            <a:solidFill>
              <a:schemeClr val="bg1"/>
            </a:solidFill>
            <a:ln w="7710" cap="flat">
              <a:noFill/>
              <a:prstDash val="solid"/>
              <a:miter/>
            </a:ln>
            <a:effectLst>
              <a:outerShdw blurRad="190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>
                  <a:solidFill>
                    <a:schemeClr val="tx1"/>
                  </a:solidFill>
                  <a:latin typeface="+mj-lt"/>
                  <a:cs typeface="Segoe UI" pitchFamily="34" charset="0"/>
                </a:rPr>
                <a:t>Service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C685634-DCB7-4146-BE42-01DCE1AB22F2}"/>
                </a:ext>
              </a:extLst>
            </p:cNvPr>
            <p:cNvSpPr/>
            <p:nvPr/>
          </p:nvSpPr>
          <p:spPr bwMode="auto">
            <a:xfrm>
              <a:off x="1347324" y="5155983"/>
              <a:ext cx="1583246" cy="796562"/>
            </a:xfrm>
            <a:prstGeom prst="rect">
              <a:avLst/>
            </a:prstGeom>
            <a:solidFill>
              <a:schemeClr val="bg1"/>
            </a:solidFill>
            <a:ln w="7710" cap="flat">
              <a:noFill/>
              <a:prstDash val="solid"/>
              <a:miter/>
            </a:ln>
            <a:effectLst>
              <a:outerShdw blurRad="190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>
                  <a:solidFill>
                    <a:schemeClr val="tx1"/>
                  </a:solidFill>
                  <a:latin typeface="+mj-lt"/>
                  <a:cs typeface="Segoe UI" pitchFamily="34" charset="0"/>
                </a:rPr>
                <a:t>Task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A80B348-991E-4B9E-8BE3-065A6E5E615A}"/>
                </a:ext>
              </a:extLst>
            </p:cNvPr>
            <p:cNvSpPr/>
            <p:nvPr/>
          </p:nvSpPr>
          <p:spPr bwMode="auto">
            <a:xfrm>
              <a:off x="3429324" y="5158759"/>
              <a:ext cx="1583246" cy="796562"/>
            </a:xfrm>
            <a:prstGeom prst="rect">
              <a:avLst/>
            </a:prstGeom>
            <a:solidFill>
              <a:schemeClr val="bg1"/>
            </a:solidFill>
            <a:ln w="7710" cap="flat">
              <a:noFill/>
              <a:prstDash val="solid"/>
              <a:miter/>
            </a:ln>
            <a:effectLst>
              <a:outerShdw blurRad="190500" sx="102000" sy="102000" algn="ctr" rotWithShape="0">
                <a:prstClr val="black">
                  <a:alpha val="25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>
                  <a:solidFill>
                    <a:schemeClr val="tx1"/>
                  </a:solidFill>
                  <a:latin typeface="+mj-lt"/>
                  <a:cs typeface="Segoe UI" pitchFamily="34" charset="0"/>
                </a:rPr>
                <a:t>Worker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402987A-6736-4A0F-9B22-10957F6A8D23}"/>
                </a:ext>
              </a:extLst>
            </p:cNvPr>
            <p:cNvSpPr/>
            <p:nvPr/>
          </p:nvSpPr>
          <p:spPr>
            <a:xfrm>
              <a:off x="2163043" y="5678172"/>
              <a:ext cx="44595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3C3C41"/>
                  </a:solidFill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ron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3C4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39B1EEA-14EA-41E9-8538-D70EDAE26738}"/>
                </a:ext>
              </a:extLst>
            </p:cNvPr>
            <p:cNvSpPr/>
            <p:nvPr/>
          </p:nvSpPr>
          <p:spPr>
            <a:xfrm>
              <a:off x="3484847" y="4555354"/>
              <a:ext cx="73610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utoscale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DAFBB98-0654-4094-90A0-C108C3CB8712}"/>
                </a:ext>
              </a:extLst>
            </p:cNvPr>
            <p:cNvSpPr/>
            <p:nvPr/>
          </p:nvSpPr>
          <p:spPr>
            <a:xfrm>
              <a:off x="2970094" y="4557628"/>
              <a:ext cx="59663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Segoe UI" panose="020B0502040204020203" pitchFamily="34" charset="0"/>
                </a:rPr>
                <a:t>ingress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+mn-ea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95242EB-2BD0-4430-B7D7-0F00D22C5C3B}"/>
                </a:ext>
              </a:extLst>
            </p:cNvPr>
            <p:cNvSpPr/>
            <p:nvPr/>
          </p:nvSpPr>
          <p:spPr>
            <a:xfrm>
              <a:off x="4287583" y="5663747"/>
              <a:ext cx="60465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latin typeface="+mj-lt"/>
                  <a:cs typeface="Segoe UI" panose="020B0502040204020203" pitchFamily="34" charset="0"/>
                </a:rPr>
                <a:t>c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Segoe UI" panose="020B0502040204020203" pitchFamily="34" charset="0"/>
                </a:rPr>
                <a:t>anary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Segoe UI" panose="020B0502040204020203" pitchFamily="34" charset="0"/>
                </a:rPr>
                <a:t> </a:t>
              </a:r>
            </a:p>
          </p:txBody>
        </p:sp>
        <p:grpSp>
          <p:nvGrpSpPr>
            <p:cNvPr id="48" name="Group 38">
              <a:extLst>
                <a:ext uri="{FF2B5EF4-FFF2-40B4-BE49-F238E27FC236}">
                  <a16:creationId xmlns:a16="http://schemas.microsoft.com/office/drawing/2014/main" id="{76F6A5BF-3CA2-45AE-8B51-6FE4E401BED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204278" y="5287010"/>
              <a:ext cx="363010" cy="363010"/>
              <a:chOff x="2645" y="1199"/>
              <a:chExt cx="375" cy="375"/>
            </a:xfrm>
          </p:grpSpPr>
          <p:sp>
            <p:nvSpPr>
              <p:cNvPr id="52" name="Freeform 39">
                <a:extLst>
                  <a:ext uri="{FF2B5EF4-FFF2-40B4-BE49-F238E27FC236}">
                    <a16:creationId xmlns:a16="http://schemas.microsoft.com/office/drawing/2014/main" id="{29CEFC0A-8C1E-4184-B704-60693AAC4B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45" y="1199"/>
                <a:ext cx="375" cy="375"/>
              </a:xfrm>
              <a:custGeom>
                <a:avLst/>
                <a:gdLst>
                  <a:gd name="T0" fmla="*/ 683 w 1366"/>
                  <a:gd name="T1" fmla="*/ 128 h 1366"/>
                  <a:gd name="T2" fmla="*/ 899 w 1366"/>
                  <a:gd name="T3" fmla="*/ 172 h 1366"/>
                  <a:gd name="T4" fmla="*/ 1075 w 1366"/>
                  <a:gd name="T5" fmla="*/ 291 h 1366"/>
                  <a:gd name="T6" fmla="*/ 1194 w 1366"/>
                  <a:gd name="T7" fmla="*/ 467 h 1366"/>
                  <a:gd name="T8" fmla="*/ 1238 w 1366"/>
                  <a:gd name="T9" fmla="*/ 683 h 1366"/>
                  <a:gd name="T10" fmla="*/ 1194 w 1366"/>
                  <a:gd name="T11" fmla="*/ 899 h 1366"/>
                  <a:gd name="T12" fmla="*/ 1075 w 1366"/>
                  <a:gd name="T13" fmla="*/ 1075 h 1366"/>
                  <a:gd name="T14" fmla="*/ 899 w 1366"/>
                  <a:gd name="T15" fmla="*/ 1194 h 1366"/>
                  <a:gd name="T16" fmla="*/ 683 w 1366"/>
                  <a:gd name="T17" fmla="*/ 1238 h 1366"/>
                  <a:gd name="T18" fmla="*/ 467 w 1366"/>
                  <a:gd name="T19" fmla="*/ 1194 h 1366"/>
                  <a:gd name="T20" fmla="*/ 291 w 1366"/>
                  <a:gd name="T21" fmla="*/ 1075 h 1366"/>
                  <a:gd name="T22" fmla="*/ 172 w 1366"/>
                  <a:gd name="T23" fmla="*/ 899 h 1366"/>
                  <a:gd name="T24" fmla="*/ 128 w 1366"/>
                  <a:gd name="T25" fmla="*/ 683 h 1366"/>
                  <a:gd name="T26" fmla="*/ 172 w 1366"/>
                  <a:gd name="T27" fmla="*/ 467 h 1366"/>
                  <a:gd name="T28" fmla="*/ 291 w 1366"/>
                  <a:gd name="T29" fmla="*/ 291 h 1366"/>
                  <a:gd name="T30" fmla="*/ 467 w 1366"/>
                  <a:gd name="T31" fmla="*/ 172 h 1366"/>
                  <a:gd name="T32" fmla="*/ 683 w 1366"/>
                  <a:gd name="T33" fmla="*/ 128 h 1366"/>
                  <a:gd name="T34" fmla="*/ 683 w 1366"/>
                  <a:gd name="T35" fmla="*/ 0 h 1366"/>
                  <a:gd name="T36" fmla="*/ 0 w 1366"/>
                  <a:gd name="T37" fmla="*/ 683 h 1366"/>
                  <a:gd name="T38" fmla="*/ 683 w 1366"/>
                  <a:gd name="T39" fmla="*/ 1366 h 1366"/>
                  <a:gd name="T40" fmla="*/ 1366 w 1366"/>
                  <a:gd name="T41" fmla="*/ 683 h 1366"/>
                  <a:gd name="T42" fmla="*/ 683 w 1366"/>
                  <a:gd name="T43" fmla="*/ 0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66" h="1366">
                    <a:moveTo>
                      <a:pt x="683" y="128"/>
                    </a:moveTo>
                    <a:cubicBezTo>
                      <a:pt x="758" y="128"/>
                      <a:pt x="831" y="143"/>
                      <a:pt x="899" y="172"/>
                    </a:cubicBezTo>
                    <a:cubicBezTo>
                      <a:pt x="965" y="200"/>
                      <a:pt x="1024" y="240"/>
                      <a:pt x="1075" y="291"/>
                    </a:cubicBezTo>
                    <a:cubicBezTo>
                      <a:pt x="1126" y="342"/>
                      <a:pt x="1166" y="401"/>
                      <a:pt x="1194" y="467"/>
                    </a:cubicBezTo>
                    <a:cubicBezTo>
                      <a:pt x="1223" y="535"/>
                      <a:pt x="1238" y="608"/>
                      <a:pt x="1238" y="683"/>
                    </a:cubicBezTo>
                    <a:cubicBezTo>
                      <a:pt x="1238" y="758"/>
                      <a:pt x="1223" y="831"/>
                      <a:pt x="1194" y="899"/>
                    </a:cubicBezTo>
                    <a:cubicBezTo>
                      <a:pt x="1166" y="965"/>
                      <a:pt x="1126" y="1024"/>
                      <a:pt x="1075" y="1075"/>
                    </a:cubicBezTo>
                    <a:cubicBezTo>
                      <a:pt x="1024" y="1126"/>
                      <a:pt x="965" y="1166"/>
                      <a:pt x="899" y="1194"/>
                    </a:cubicBezTo>
                    <a:cubicBezTo>
                      <a:pt x="831" y="1223"/>
                      <a:pt x="758" y="1238"/>
                      <a:pt x="683" y="1238"/>
                    </a:cubicBezTo>
                    <a:cubicBezTo>
                      <a:pt x="608" y="1238"/>
                      <a:pt x="535" y="1223"/>
                      <a:pt x="467" y="1194"/>
                    </a:cubicBezTo>
                    <a:cubicBezTo>
                      <a:pt x="401" y="1166"/>
                      <a:pt x="342" y="1126"/>
                      <a:pt x="291" y="1075"/>
                    </a:cubicBezTo>
                    <a:cubicBezTo>
                      <a:pt x="240" y="1024"/>
                      <a:pt x="200" y="965"/>
                      <a:pt x="172" y="899"/>
                    </a:cubicBezTo>
                    <a:cubicBezTo>
                      <a:pt x="143" y="831"/>
                      <a:pt x="128" y="758"/>
                      <a:pt x="128" y="683"/>
                    </a:cubicBezTo>
                    <a:cubicBezTo>
                      <a:pt x="128" y="608"/>
                      <a:pt x="143" y="535"/>
                      <a:pt x="172" y="467"/>
                    </a:cubicBezTo>
                    <a:cubicBezTo>
                      <a:pt x="200" y="401"/>
                      <a:pt x="240" y="342"/>
                      <a:pt x="291" y="291"/>
                    </a:cubicBezTo>
                    <a:cubicBezTo>
                      <a:pt x="342" y="240"/>
                      <a:pt x="401" y="200"/>
                      <a:pt x="467" y="172"/>
                    </a:cubicBezTo>
                    <a:cubicBezTo>
                      <a:pt x="535" y="143"/>
                      <a:pt x="608" y="128"/>
                      <a:pt x="683" y="128"/>
                    </a:cubicBezTo>
                    <a:moveTo>
                      <a:pt x="683" y="0"/>
                    </a:moveTo>
                    <a:cubicBezTo>
                      <a:pt x="306" y="0"/>
                      <a:pt x="0" y="306"/>
                      <a:pt x="0" y="683"/>
                    </a:cubicBezTo>
                    <a:cubicBezTo>
                      <a:pt x="0" y="1060"/>
                      <a:pt x="306" y="1366"/>
                      <a:pt x="683" y="1366"/>
                    </a:cubicBezTo>
                    <a:cubicBezTo>
                      <a:pt x="1060" y="1366"/>
                      <a:pt x="1366" y="1060"/>
                      <a:pt x="1366" y="683"/>
                    </a:cubicBezTo>
                    <a:cubicBezTo>
                      <a:pt x="1366" y="306"/>
                      <a:pt x="1060" y="0"/>
                      <a:pt x="683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40">
                <a:extLst>
                  <a:ext uri="{FF2B5EF4-FFF2-40B4-BE49-F238E27FC236}">
                    <a16:creationId xmlns:a16="http://schemas.microsoft.com/office/drawing/2014/main" id="{6CB6B914-7E49-473F-B1C4-4CAC2AA0E2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9" y="1281"/>
                <a:ext cx="95" cy="191"/>
              </a:xfrm>
              <a:custGeom>
                <a:avLst/>
                <a:gdLst>
                  <a:gd name="T0" fmla="*/ 35 w 95"/>
                  <a:gd name="T1" fmla="*/ 0 h 191"/>
                  <a:gd name="T2" fmla="*/ 0 w 95"/>
                  <a:gd name="T3" fmla="*/ 0 h 191"/>
                  <a:gd name="T4" fmla="*/ 0 w 95"/>
                  <a:gd name="T5" fmla="*/ 120 h 191"/>
                  <a:gd name="T6" fmla="*/ 0 w 95"/>
                  <a:gd name="T7" fmla="*/ 120 h 191"/>
                  <a:gd name="T8" fmla="*/ 0 w 95"/>
                  <a:gd name="T9" fmla="*/ 120 h 191"/>
                  <a:gd name="T10" fmla="*/ 70 w 95"/>
                  <a:gd name="T11" fmla="*/ 191 h 191"/>
                  <a:gd name="T12" fmla="*/ 95 w 95"/>
                  <a:gd name="T13" fmla="*/ 166 h 191"/>
                  <a:gd name="T14" fmla="*/ 35 w 95"/>
                  <a:gd name="T15" fmla="*/ 106 h 191"/>
                  <a:gd name="T16" fmla="*/ 35 w 95"/>
                  <a:gd name="T17" fmla="*/ 0 h 191"/>
                  <a:gd name="T18" fmla="*/ 35 w 95"/>
                  <a:gd name="T1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" h="191">
                    <a:moveTo>
                      <a:pt x="35" y="0"/>
                    </a:moveTo>
                    <a:lnTo>
                      <a:pt x="0" y="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70" y="191"/>
                    </a:lnTo>
                    <a:lnTo>
                      <a:pt x="95" y="166"/>
                    </a:lnTo>
                    <a:lnTo>
                      <a:pt x="35" y="106"/>
                    </a:lnTo>
                    <a:lnTo>
                      <a:pt x="35" y="0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0078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C755846E-C994-413B-939C-87A604251B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78160" y="4233123"/>
              <a:ext cx="303820" cy="303820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D06E3D90-01EC-4388-B63D-A66FEDC17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3073805" y="4187652"/>
              <a:ext cx="403432" cy="403432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72DFAC4D-C29A-4B78-B668-80C5A4240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37999" y="5351659"/>
              <a:ext cx="303820" cy="303820"/>
            </a:xfrm>
            <a:prstGeom prst="rect">
              <a:avLst/>
            </a:prstGeom>
          </p:spPr>
        </p:pic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1E52652-4932-4882-9E10-64BED28C3602}"/>
              </a:ext>
            </a:extLst>
          </p:cNvPr>
          <p:cNvCxnSpPr>
            <a:cxnSpLocks/>
          </p:cNvCxnSpPr>
          <p:nvPr/>
        </p:nvCxnSpPr>
        <p:spPr>
          <a:xfrm flipH="1">
            <a:off x="5572313" y="4968442"/>
            <a:ext cx="905651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headEnd type="arrow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25158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91667E-6 3.7037E-6 L -2.91667E-6 0.02569 " pathEditMode="relative" rAng="0" ptsTypes="AA">
                                      <p:cBhvr>
                                        <p:cTn id="9" dur="5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7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Return </a:t>
            </a:r>
            <a:r>
              <a:rPr lang="en-US" sz="3600" b="1" dirty="0">
                <a:solidFill>
                  <a:schemeClr val="tx2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of experienc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88536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57958AF-32A5-4B79-A406-D4CCA66FC2A4}"/>
              </a:ext>
            </a:extLst>
          </p:cNvPr>
          <p:cNvSpPr txBox="1"/>
          <p:nvPr/>
        </p:nvSpPr>
        <p:spPr>
          <a:xfrm>
            <a:off x="5349922" y="619707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fr-FR" sz="1050" dirty="0">
                <a:latin typeface="Arial" panose="020B0604020202020204" pitchFamily="34" charset="0"/>
              </a:rPr>
              <a:t>All Microservices Should Be Written in the Same Programming Languag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B550A7-EE75-43BB-9673-DA7800B87E54}"/>
              </a:ext>
            </a:extLst>
          </p:cNvPr>
          <p:cNvSpPr txBox="1"/>
          <p:nvPr/>
        </p:nvSpPr>
        <p:spPr>
          <a:xfrm>
            <a:off x="5349922" y="1416339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fr-FR" sz="1050" dirty="0">
                <a:latin typeface="Arial" panose="020B0604020202020204" pitchFamily="34" charset="0"/>
              </a:rPr>
              <a:t>Microservices, As the Name Implies, Should Be Smal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17AAC3-8A99-475E-AD61-0B10C3631165}"/>
              </a:ext>
            </a:extLst>
          </p:cNvPr>
          <p:cNvSpPr txBox="1"/>
          <p:nvPr/>
        </p:nvSpPr>
        <p:spPr>
          <a:xfrm>
            <a:off x="5349922" y="2197471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sz="1050" dirty="0">
                <a:latin typeface="Arial" panose="020B0604020202020204" pitchFamily="34" charset="0"/>
              </a:rPr>
              <a:t>Not </a:t>
            </a:r>
            <a:r>
              <a:rPr lang="fr-FR" altLang="fr-FR" sz="1050" dirty="0" err="1">
                <a:latin typeface="Arial" panose="020B0604020202020204" pitchFamily="34" charset="0"/>
              </a:rPr>
              <a:t>Centralizing</a:t>
            </a:r>
            <a:r>
              <a:rPr lang="fr-FR" altLang="fr-FR" sz="1050" dirty="0">
                <a:latin typeface="Arial" panose="020B0604020202020204" pitchFamily="34" charset="0"/>
              </a:rPr>
              <a:t> The </a:t>
            </a:r>
            <a:r>
              <a:rPr lang="fr-FR" altLang="fr-FR" sz="1050" dirty="0" err="1">
                <a:latin typeface="Arial" panose="020B0604020202020204" pitchFamily="34" charset="0"/>
              </a:rPr>
              <a:t>Logging</a:t>
            </a:r>
            <a:endParaRPr lang="fr-FR" altLang="fr-FR" sz="1050" dirty="0">
              <a:latin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52C640E-C40A-4C2C-8FA2-2CBB70DB23BE}"/>
              </a:ext>
            </a:extLst>
          </p:cNvPr>
          <p:cNvSpPr/>
          <p:nvPr/>
        </p:nvSpPr>
        <p:spPr>
          <a:xfrm>
            <a:off x="4817659" y="712108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8D77D7F-76AB-4702-9295-91E103FA1638}"/>
              </a:ext>
            </a:extLst>
          </p:cNvPr>
          <p:cNvSpPr/>
          <p:nvPr/>
        </p:nvSpPr>
        <p:spPr>
          <a:xfrm>
            <a:off x="4817658" y="2289872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1139EC7-AE46-4381-AFD0-0C18ED248AB0}"/>
              </a:ext>
            </a:extLst>
          </p:cNvPr>
          <p:cNvSpPr/>
          <p:nvPr/>
        </p:nvSpPr>
        <p:spPr>
          <a:xfrm>
            <a:off x="4817659" y="1500990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EAA242-EFBC-4D2A-8680-79BB58B3EA3E}"/>
              </a:ext>
            </a:extLst>
          </p:cNvPr>
          <p:cNvSpPr txBox="1"/>
          <p:nvPr/>
        </p:nvSpPr>
        <p:spPr>
          <a:xfrm>
            <a:off x="1025521" y="712108"/>
            <a:ext cx="353283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Main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Mistakes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DBA62739-A399-4A54-B5DD-0B44CED1087B}"/>
              </a:ext>
            </a:extLst>
          </p:cNvPr>
          <p:cNvSpPr txBox="1"/>
          <p:nvPr/>
        </p:nvSpPr>
        <p:spPr>
          <a:xfrm>
            <a:off x="5349922" y="2978603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fr-FR" sz="1050" dirty="0">
                <a:latin typeface="Arial" panose="020B0604020202020204" pitchFamily="34" charset="0"/>
              </a:rPr>
              <a:t>Not Automating the Versioning and Releasing Process</a:t>
            </a:r>
          </a:p>
        </p:txBody>
      </p:sp>
      <p:sp>
        <p:nvSpPr>
          <p:cNvPr id="13" name="Oval 8">
            <a:extLst>
              <a:ext uri="{FF2B5EF4-FFF2-40B4-BE49-F238E27FC236}">
                <a16:creationId xmlns:a16="http://schemas.microsoft.com/office/drawing/2014/main" id="{7A39B35B-E00C-4B9F-8984-4E5EF75B0FDF}"/>
              </a:ext>
            </a:extLst>
          </p:cNvPr>
          <p:cNvSpPr/>
          <p:nvPr/>
        </p:nvSpPr>
        <p:spPr>
          <a:xfrm>
            <a:off x="4817658" y="3071004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221EF84A-CE8F-4A54-A4D0-F13496C37CBF}"/>
              </a:ext>
            </a:extLst>
          </p:cNvPr>
          <p:cNvSpPr txBox="1"/>
          <p:nvPr/>
        </p:nvSpPr>
        <p:spPr>
          <a:xfrm>
            <a:off x="5349922" y="3759735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sz="1050" dirty="0" err="1">
                <a:latin typeface="Arial" panose="020B0604020202020204" pitchFamily="34" charset="0"/>
              </a:rPr>
              <a:t>Wrong</a:t>
            </a:r>
            <a:r>
              <a:rPr lang="fr-FR" altLang="fr-FR" sz="1050" dirty="0">
                <a:latin typeface="Arial" panose="020B0604020202020204" pitchFamily="34" charset="0"/>
              </a:rPr>
              <a:t> service </a:t>
            </a:r>
            <a:r>
              <a:rPr lang="fr-FR" altLang="fr-FR" sz="1050" dirty="0" err="1">
                <a:latin typeface="Arial" panose="020B0604020202020204" pitchFamily="34" charset="0"/>
              </a:rPr>
              <a:t>boundaries</a:t>
            </a:r>
            <a:r>
              <a:rPr lang="fr-FR" altLang="fr-FR" sz="1050" dirty="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5" name="Oval 8">
            <a:extLst>
              <a:ext uri="{FF2B5EF4-FFF2-40B4-BE49-F238E27FC236}">
                <a16:creationId xmlns:a16="http://schemas.microsoft.com/office/drawing/2014/main" id="{2762E981-DB8C-487B-B1E0-7E2C79A4D112}"/>
              </a:ext>
            </a:extLst>
          </p:cNvPr>
          <p:cNvSpPr/>
          <p:nvPr/>
        </p:nvSpPr>
        <p:spPr>
          <a:xfrm>
            <a:off x="4817658" y="3852136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3232BB60-4127-4842-88C6-63065761D435}"/>
              </a:ext>
            </a:extLst>
          </p:cNvPr>
          <p:cNvSpPr txBox="1"/>
          <p:nvPr/>
        </p:nvSpPr>
        <p:spPr>
          <a:xfrm>
            <a:off x="5349922" y="4540867"/>
            <a:ext cx="5816556" cy="365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sz="1050" dirty="0">
                <a:latin typeface="Arial" panose="020B0604020202020204" pitchFamily="34" charset="0"/>
              </a:rPr>
              <a:t>One hop </a:t>
            </a:r>
            <a:r>
              <a:rPr lang="fr-FR" altLang="fr-FR" sz="1050" dirty="0" err="1">
                <a:latin typeface="Arial" panose="020B0604020202020204" pitchFamily="34" charset="0"/>
              </a:rPr>
              <a:t>rule</a:t>
            </a:r>
            <a:endParaRPr lang="fr-FR" altLang="fr-FR" sz="1050" dirty="0">
              <a:latin typeface="Arial" panose="020B0604020202020204" pitchFamily="34" charset="0"/>
            </a:endParaRPr>
          </a:p>
        </p:txBody>
      </p:sp>
      <p:sp>
        <p:nvSpPr>
          <p:cNvPr id="17" name="Oval 8">
            <a:extLst>
              <a:ext uri="{FF2B5EF4-FFF2-40B4-BE49-F238E27FC236}">
                <a16:creationId xmlns:a16="http://schemas.microsoft.com/office/drawing/2014/main" id="{B304F113-3A14-4C0D-918A-84C84A5A7850}"/>
              </a:ext>
            </a:extLst>
          </p:cNvPr>
          <p:cNvSpPr/>
          <p:nvPr/>
        </p:nvSpPr>
        <p:spPr>
          <a:xfrm>
            <a:off x="4817658" y="4633268"/>
            <a:ext cx="272955" cy="2729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82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 animBg="1"/>
      <p:bldP spid="10" grpId="0" animBg="1"/>
      <p:bldP spid="12" grpId="0"/>
      <p:bldP spid="13" grpId="0" animBg="1"/>
      <p:bldP spid="14" grpId="0"/>
      <p:bldP spid="15" grpId="0" animBg="1"/>
      <p:bldP spid="16" grpId="0"/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ip</a:t>
            </a:r>
            <a:r>
              <a:rPr lang="en-US" sz="3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8461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Skip injection with a variable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2CD2686-D2DD-8FAB-6C6D-39D15D7337E0}"/>
              </a:ext>
            </a:extLst>
          </p:cNvPr>
          <p:cNvSpPr txBox="1"/>
          <p:nvPr/>
        </p:nvSpPr>
        <p:spPr>
          <a:xfrm>
            <a:off x="630000" y="1651209"/>
            <a:ext cx="42898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me </a:t>
            </a:r>
            <a:r>
              <a:rPr lang="en-US" dirty="0">
                <a:solidFill>
                  <a:srgbClr val="FB8005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defined variables </a:t>
            </a:r>
            <a:r>
              <a:rPr lang="en-US" dirty="0"/>
              <a:t>are available to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C075DC-2BB0-7A53-9AB6-ECB4AB66BE8E}"/>
              </a:ext>
            </a:extLst>
          </p:cNvPr>
          <p:cNvSpPr txBox="1"/>
          <p:nvPr/>
        </p:nvSpPr>
        <p:spPr>
          <a:xfrm>
            <a:off x="1873587" y="2505670"/>
            <a:ext cx="7896185" cy="92333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te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${{ if ne(variables['</a:t>
            </a:r>
            <a:r>
              <a:rPr lang="en-US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kipDecoratorInjection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'], 'true')) }}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-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nytask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Filter by project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2CD2686-D2DD-8FAB-6C6D-39D15D7337E0}"/>
              </a:ext>
            </a:extLst>
          </p:cNvPr>
          <p:cNvSpPr txBox="1"/>
          <p:nvPr/>
        </p:nvSpPr>
        <p:spPr>
          <a:xfrm>
            <a:off x="628650" y="3610807"/>
            <a:ext cx="49655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ltering by ID (allow the project’s name to change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C075DC-2BB0-7A53-9AB6-ECB4AB66BE8E}"/>
              </a:ext>
            </a:extLst>
          </p:cNvPr>
          <p:cNvSpPr txBox="1"/>
          <p:nvPr/>
        </p:nvSpPr>
        <p:spPr>
          <a:xfrm>
            <a:off x="1475273" y="2171133"/>
            <a:ext cx="9241453" cy="92333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teps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${{ if eq(variables['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ystem.TeamProject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'], '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ProjectA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')  }}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- 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nytask</a:t>
            </a:r>
            <a:endParaRPr lang="fr-FR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E3D3B1-A2EB-79C9-2E97-55EBDCC8559F}"/>
              </a:ext>
            </a:extLst>
          </p:cNvPr>
          <p:cNvSpPr txBox="1"/>
          <p:nvPr/>
        </p:nvSpPr>
        <p:spPr>
          <a:xfrm>
            <a:off x="1475273" y="4171176"/>
            <a:ext cx="9241453" cy="1200329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teps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${{ if eq(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resources.repositories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['self'].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project</a:t>
            </a:r>
            <a:r>
              <a:rPr lang="fr-FR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, '09bbdc2c-51d3-4b05-b97a-0acdc1817cc7') }}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- </a:t>
            </a:r>
            <a:r>
              <a:rPr lang="fr-FR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nytask</a:t>
            </a:r>
            <a:endParaRPr lang="fr-FR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BA25B6-3146-8240-D7EB-276D371CC154}"/>
              </a:ext>
            </a:extLst>
          </p:cNvPr>
          <p:cNvSpPr txBox="1"/>
          <p:nvPr/>
        </p:nvSpPr>
        <p:spPr>
          <a:xfrm>
            <a:off x="628650" y="1564597"/>
            <a:ext cx="26010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ltering by project name)</a:t>
            </a:r>
          </a:p>
        </p:txBody>
      </p:sp>
    </p:spTree>
    <p:extLst>
      <p:ext uri="{BB962C8B-B14F-4D97-AF65-F5344CB8AC3E}">
        <p14:creationId xmlns:p14="http://schemas.microsoft.com/office/powerpoint/2010/main" val="3498671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Filter by runner operating system (for compatibility)</a:t>
            </a:r>
            <a:br>
              <a:rPr lang="en-US" dirty="0"/>
            </a:b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2CD2686-D2DD-8FAB-6C6D-39D15D7337E0}"/>
              </a:ext>
            </a:extLst>
          </p:cNvPr>
          <p:cNvSpPr txBox="1"/>
          <p:nvPr/>
        </p:nvSpPr>
        <p:spPr>
          <a:xfrm>
            <a:off x="630000" y="1651209"/>
            <a:ext cx="44278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n only be done at step level, </a:t>
            </a:r>
            <a:r>
              <a:rPr lang="en-US" dirty="0">
                <a:solidFill>
                  <a:srgbClr val="FB8005"/>
                </a:solidFill>
              </a:rPr>
              <a:t>after injection</a:t>
            </a:r>
            <a:endParaRPr lang="fr-FR" dirty="0">
              <a:solidFill>
                <a:srgbClr val="FB8005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C075DC-2BB0-7A53-9AB6-ECB4AB66BE8E}"/>
              </a:ext>
            </a:extLst>
          </p:cNvPr>
          <p:cNvSpPr txBox="1"/>
          <p:nvPr/>
        </p:nvSpPr>
        <p:spPr>
          <a:xfrm>
            <a:off x="2406055" y="2696434"/>
            <a:ext cx="6421120" cy="3293209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fr-FR" sz="16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mdLine@2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isplayName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(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njected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test: OS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s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Windows'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dition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eq(variables['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gent.OS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], '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Windows_NT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)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puts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cript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|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echo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%AGENT_OS% 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b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fr-FR" sz="16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mdLine@2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isplayName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(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njected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test: OS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is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Linux'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condition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eq(variables['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gent.OS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], 'Linux')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inputs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fr-FR" sz="16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cript</a:t>
            </a:r>
            <a:r>
              <a:rPr lang="fr-FR" sz="16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fr-FR" sz="16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|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fr-FR" sz="16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echo</a:t>
            </a:r>
            <a:r>
              <a:rPr lang="fr-FR" sz="16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 $AGENT_OS </a:t>
            </a:r>
            <a:endParaRPr lang="fr-FR" sz="1600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8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2749855-BB21-4138-8E2F-B07A3E846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n-US" dirty="0"/>
              <a:t>Do not inject if a task is already present</a:t>
            </a:r>
            <a:endParaRPr lang="fr-FR" dirty="0"/>
          </a:p>
        </p:txBody>
      </p:sp>
      <p:cxnSp>
        <p:nvCxnSpPr>
          <p:cNvPr id="5" name="Straight Connector 27">
            <a:extLst>
              <a:ext uri="{FF2B5EF4-FFF2-40B4-BE49-F238E27FC236}">
                <a16:creationId xmlns:a16="http://schemas.microsoft.com/office/drawing/2014/main" id="{A568A101-CEDD-495B-BCE7-234B53A0AC53}"/>
              </a:ext>
            </a:extLst>
          </p:cNvPr>
          <p:cNvCxnSpPr/>
          <p:nvPr/>
        </p:nvCxnSpPr>
        <p:spPr>
          <a:xfrm rot="16200000">
            <a:off x="1139729" y="793909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4C075DC-2BB0-7A53-9AB6-ECB4AB66BE8E}"/>
              </a:ext>
            </a:extLst>
          </p:cNvPr>
          <p:cNvSpPr txBox="1"/>
          <p:nvPr/>
        </p:nvSpPr>
        <p:spPr>
          <a:xfrm>
            <a:off x="1026160" y="2462689"/>
            <a:ext cx="10139679" cy="1200329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steps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 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${{ if </a:t>
            </a:r>
            <a:r>
              <a:rPr lang="en-US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containsValue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job.steps</a:t>
            </a:r>
            <a:r>
              <a:rPr lang="en-US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.*.task.id, 'EA576CD4-C61F-48F8-97E7-A3CB07B90A6F') }}: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- </a:t>
            </a:r>
            <a:r>
              <a:rPr lang="en-US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task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nytask</a:t>
            </a: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E9F41D-8E1A-B49D-D544-B3229954C633}"/>
              </a:ext>
            </a:extLst>
          </p:cNvPr>
          <p:cNvSpPr txBox="1"/>
          <p:nvPr/>
        </p:nvSpPr>
        <p:spPr>
          <a:xfrm>
            <a:off x="630000" y="1651209"/>
            <a:ext cx="3618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 ID is stored in the </a:t>
            </a:r>
            <a:r>
              <a:rPr lang="en-US" dirty="0" err="1">
                <a:solidFill>
                  <a:srgbClr val="FB8005"/>
                </a:solidFill>
              </a:rPr>
              <a:t>task.json</a:t>
            </a:r>
            <a:r>
              <a:rPr lang="en-US" dirty="0"/>
              <a:t> file *</a:t>
            </a:r>
            <a:endParaRPr lang="fr-FR" dirty="0">
              <a:solidFill>
                <a:srgbClr val="FB8005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ADAE91-54B7-639B-87A4-71F42B116685}"/>
              </a:ext>
            </a:extLst>
          </p:cNvPr>
          <p:cNvSpPr txBox="1"/>
          <p:nvPr/>
        </p:nvSpPr>
        <p:spPr>
          <a:xfrm>
            <a:off x="625436" y="5305497"/>
            <a:ext cx="115665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 Built-in tasks (and </a:t>
            </a:r>
            <a:r>
              <a:rPr lang="en-US" dirty="0" err="1"/>
              <a:t>task.json</a:t>
            </a:r>
            <a:r>
              <a:rPr lang="en-US" dirty="0"/>
              <a:t>) are </a:t>
            </a:r>
            <a:r>
              <a:rPr lang="en-US" dirty="0">
                <a:solidFill>
                  <a:srgbClr val="FB8005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ublished on GitHub</a:t>
            </a:r>
            <a:r>
              <a:rPr lang="en-US" dirty="0"/>
              <a:t>. For custom tasks, on the marketplace, download the version for </a:t>
            </a:r>
            <a:endParaRPr lang="fr-FR" dirty="0">
              <a:solidFill>
                <a:srgbClr val="FB8005"/>
              </a:solidFill>
            </a:endParaRPr>
          </a:p>
          <a:p>
            <a:r>
              <a:rPr lang="fr-FR" dirty="0">
                <a:solidFill>
                  <a:schemeClr val="bg2">
                    <a:lumMod val="25000"/>
                  </a:schemeClr>
                </a:solidFill>
              </a:rPr>
              <a:t>Azure DevOps server and </a:t>
            </a:r>
            <a:r>
              <a:rPr lang="fr-FR" dirty="0" err="1">
                <a:solidFill>
                  <a:schemeClr val="bg2">
                    <a:lumMod val="25000"/>
                  </a:schemeClr>
                </a:solidFill>
              </a:rPr>
              <a:t>unzip</a:t>
            </a:r>
            <a:r>
              <a:rPr lang="fr-FR" dirty="0">
                <a:solidFill>
                  <a:schemeClr val="bg2">
                    <a:lumMod val="25000"/>
                  </a:schemeClr>
                </a:solidFill>
              </a:rPr>
              <a:t> the VSIX file</a:t>
            </a:r>
            <a:r>
              <a:rPr lang="fr-FR" dirty="0">
                <a:solidFill>
                  <a:srgbClr val="FB8005"/>
                </a:solidFill>
              </a:rPr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26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4" descr="Une image contenant alimentation&#10;&#10;Description générée automatiquement">
            <a:extLst>
              <a:ext uri="{FF2B5EF4-FFF2-40B4-BE49-F238E27FC236}">
                <a16:creationId xmlns:a16="http://schemas.microsoft.com/office/drawing/2014/main" id="{E897DF35-66D1-447A-995E-1C93717E8F0C}"/>
              </a:ext>
            </a:extLst>
          </p:cNvPr>
          <p:cNvPicPr preferRelativeResize="0">
            <a:picLocks noGrp="1"/>
          </p:cNvPicPr>
          <p:nvPr>
            <p:ph type="pic" sz="quarter" idx="10"/>
          </p:nvPr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794945" y="3138359"/>
            <a:ext cx="12698412" cy="4926984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0FF514E-EAE9-447A-B949-C3F2D1F33B3E}"/>
              </a:ext>
            </a:extLst>
          </p:cNvPr>
          <p:cNvSpPr txBox="1"/>
          <p:nvPr/>
        </p:nvSpPr>
        <p:spPr>
          <a:xfrm>
            <a:off x="440588" y="4473226"/>
            <a:ext cx="725011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48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03747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>
            <a:extLst>
              <a:ext uri="{FF2B5EF4-FFF2-40B4-BE49-F238E27FC236}">
                <a16:creationId xmlns:a16="http://schemas.microsoft.com/office/drawing/2014/main" id="{07017296-D424-429A-8548-E3284C79291F}"/>
              </a:ext>
            </a:extLst>
          </p:cNvPr>
          <p:cNvSpPr>
            <a:spLocks/>
          </p:cNvSpPr>
          <p:nvPr/>
        </p:nvSpPr>
        <p:spPr bwMode="auto">
          <a:xfrm>
            <a:off x="2746738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0D6048-6B19-4DDE-9FCE-00C26B463B2B}"/>
              </a:ext>
            </a:extLst>
          </p:cNvPr>
          <p:cNvSpPr txBox="1"/>
          <p:nvPr/>
        </p:nvSpPr>
        <p:spPr>
          <a:xfrm>
            <a:off x="2319434" y="4121744"/>
            <a:ext cx="1754372" cy="2018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Introduc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61A340C-592D-42FC-AED3-B793B9640050}"/>
              </a:ext>
            </a:extLst>
          </p:cNvPr>
          <p:cNvCxnSpPr/>
          <p:nvPr/>
        </p:nvCxnSpPr>
        <p:spPr>
          <a:xfrm>
            <a:off x="2973463" y="3921921"/>
            <a:ext cx="44631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AutoShape 2">
            <a:extLst>
              <a:ext uri="{FF2B5EF4-FFF2-40B4-BE49-F238E27FC236}">
                <a16:creationId xmlns:a16="http://schemas.microsoft.com/office/drawing/2014/main" id="{7F20F561-7F24-4577-8F20-6FA3DDEB9C64}"/>
              </a:ext>
            </a:extLst>
          </p:cNvPr>
          <p:cNvSpPr>
            <a:spLocks/>
          </p:cNvSpPr>
          <p:nvPr/>
        </p:nvSpPr>
        <p:spPr bwMode="auto">
          <a:xfrm>
            <a:off x="4742422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tx1"/>
          </a:solidFill>
          <a:ln w="38100"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C74234-CA63-446B-A74E-D543673802FE}"/>
              </a:ext>
            </a:extLst>
          </p:cNvPr>
          <p:cNvSpPr txBox="1"/>
          <p:nvPr/>
        </p:nvSpPr>
        <p:spPr>
          <a:xfrm>
            <a:off x="4315118" y="4121744"/>
            <a:ext cx="1754372" cy="20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Prerequisit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2BEEAED-BFF2-4281-B503-3DF2861A3B27}"/>
              </a:ext>
            </a:extLst>
          </p:cNvPr>
          <p:cNvCxnSpPr/>
          <p:nvPr/>
        </p:nvCxnSpPr>
        <p:spPr>
          <a:xfrm>
            <a:off x="4969147" y="3921921"/>
            <a:ext cx="446314" cy="0"/>
          </a:xfrm>
          <a:prstGeom prst="line">
            <a:avLst/>
          </a:prstGeom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utoShape 2">
            <a:extLst>
              <a:ext uri="{FF2B5EF4-FFF2-40B4-BE49-F238E27FC236}">
                <a16:creationId xmlns:a16="http://schemas.microsoft.com/office/drawing/2014/main" id="{D59DD603-1BD9-425D-9E84-D2186914D3C9}"/>
              </a:ext>
            </a:extLst>
          </p:cNvPr>
          <p:cNvSpPr>
            <a:spLocks/>
          </p:cNvSpPr>
          <p:nvPr/>
        </p:nvSpPr>
        <p:spPr bwMode="auto">
          <a:xfrm>
            <a:off x="6738106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CF934E-BF99-4729-8DD2-9425EBA1E990}"/>
              </a:ext>
            </a:extLst>
          </p:cNvPr>
          <p:cNvSpPr txBox="1"/>
          <p:nvPr/>
        </p:nvSpPr>
        <p:spPr>
          <a:xfrm>
            <a:off x="6310802" y="4121744"/>
            <a:ext cx="1754372" cy="20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Architectur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F58652A-A63F-4D51-A42C-3042CDF272DB}"/>
              </a:ext>
            </a:extLst>
          </p:cNvPr>
          <p:cNvCxnSpPr/>
          <p:nvPr/>
        </p:nvCxnSpPr>
        <p:spPr>
          <a:xfrm>
            <a:off x="6964831" y="3921921"/>
            <a:ext cx="446314" cy="0"/>
          </a:xfrm>
          <a:prstGeom prst="line">
            <a:avLst/>
          </a:prstGeom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utoShape 2">
            <a:extLst>
              <a:ext uri="{FF2B5EF4-FFF2-40B4-BE49-F238E27FC236}">
                <a16:creationId xmlns:a16="http://schemas.microsoft.com/office/drawing/2014/main" id="{B7D35388-C6AE-4B96-9062-808F8B283D5A}"/>
              </a:ext>
            </a:extLst>
          </p:cNvPr>
          <p:cNvSpPr>
            <a:spLocks/>
          </p:cNvSpPr>
          <p:nvPr/>
        </p:nvSpPr>
        <p:spPr bwMode="auto">
          <a:xfrm>
            <a:off x="8737358" y="2600589"/>
            <a:ext cx="899765" cy="973777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chemeClr val="tx1"/>
          </a:solidFill>
          <a:ln w="38100"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0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EE8112-B713-434B-92E1-C965C7719356}"/>
              </a:ext>
            </a:extLst>
          </p:cNvPr>
          <p:cNvSpPr txBox="1"/>
          <p:nvPr/>
        </p:nvSpPr>
        <p:spPr>
          <a:xfrm>
            <a:off x="8310054" y="4121744"/>
            <a:ext cx="1754372" cy="20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spc="200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REX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79877D7-5F01-481D-BA99-30DC2B9E1D99}"/>
              </a:ext>
            </a:extLst>
          </p:cNvPr>
          <p:cNvCxnSpPr/>
          <p:nvPr/>
        </p:nvCxnSpPr>
        <p:spPr>
          <a:xfrm>
            <a:off x="8964083" y="3921921"/>
            <a:ext cx="446314" cy="0"/>
          </a:xfrm>
          <a:prstGeom prst="line">
            <a:avLst/>
          </a:prstGeom>
          <a:ln w="254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1303334E-2132-411C-A4BD-70CC4E1BC265}"/>
              </a:ext>
            </a:extLst>
          </p:cNvPr>
          <p:cNvSpPr txBox="1"/>
          <p:nvPr/>
        </p:nvSpPr>
        <p:spPr>
          <a:xfrm>
            <a:off x="3250107" y="1032933"/>
            <a:ext cx="56917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Agenda</a:t>
            </a: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5CF591C-6F1B-4FF6-8911-3CA69651FDF5}"/>
              </a:ext>
            </a:extLst>
          </p:cNvPr>
          <p:cNvCxnSpPr/>
          <p:nvPr/>
        </p:nvCxnSpPr>
        <p:spPr>
          <a:xfrm rot="16200000">
            <a:off x="6077616" y="1364360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1493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Ex</a:t>
            </a:r>
            <a:r>
              <a:rPr lang="en-US" sz="36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tensibilit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8514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030C5B6E-322F-4175-875C-3546241B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zure DevOps can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extended</a:t>
            </a:r>
            <a:r>
              <a:rPr lang="fr-FR" dirty="0"/>
              <a:t> </a:t>
            </a:r>
            <a:r>
              <a:rPr lang="fr-FR" dirty="0" err="1"/>
              <a:t>with</a:t>
            </a:r>
            <a:endParaRPr lang="fr-FR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0B4C3F29-4B45-4FFD-98DF-428EF7D7F138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30000" y="1835145"/>
            <a:ext cx="10663280" cy="3699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Pipeline </a:t>
            </a:r>
            <a:r>
              <a:rPr lang="fr-FR" altLang="fr-FR" dirty="0" err="1">
                <a:solidFill>
                  <a:srgbClr val="FB8005"/>
                </a:solidFill>
              </a:rPr>
              <a:t>tasks</a:t>
            </a:r>
            <a:r>
              <a:rPr lang="fr-FR" altLang="fr-FR" dirty="0"/>
              <a:t>: </a:t>
            </a:r>
            <a:r>
              <a:rPr lang="fr-FR" altLang="fr-FR" dirty="0" err="1"/>
              <a:t>packaged</a:t>
            </a:r>
            <a:r>
              <a:rPr lang="fr-FR" altLang="fr-FR" dirty="0"/>
              <a:t> </a:t>
            </a:r>
            <a:r>
              <a:rPr lang="fr-FR" altLang="fr-FR" dirty="0" err="1"/>
              <a:t>build</a:t>
            </a:r>
            <a:r>
              <a:rPr lang="fr-FR" altLang="fr-FR" dirty="0"/>
              <a:t>/releases </a:t>
            </a:r>
            <a:r>
              <a:rPr lang="fr-FR" altLang="fr-FR" dirty="0" err="1"/>
              <a:t>tasks</a:t>
            </a:r>
            <a:r>
              <a:rPr lang="fr-FR" altLang="fr-FR" dirty="0"/>
              <a:t> for the pipelines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Dashboard widgets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chart or a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ully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customized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widgets for the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reporting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shboards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Work Item </a:t>
            </a:r>
            <a:r>
              <a:rPr lang="fr-FR" altLang="fr-FR" dirty="0" err="1">
                <a:solidFill>
                  <a:srgbClr val="FB8005"/>
                </a:solidFill>
              </a:rPr>
              <a:t>Form</a:t>
            </a:r>
            <a:r>
              <a:rPr lang="fr-FR" altLang="fr-FR" dirty="0"/>
              <a:t>: </a:t>
            </a:r>
            <a:r>
              <a:rPr lang="fr-FR" altLang="fr-FR" dirty="0" err="1"/>
              <a:t>customizing</a:t>
            </a:r>
            <a:r>
              <a:rPr lang="fr-FR" altLang="fr-FR" dirty="0"/>
              <a:t> the types and the </a:t>
            </a:r>
            <a:r>
              <a:rPr lang="fr-FR" altLang="fr-FR" dirty="0" err="1"/>
              <a:t>forms</a:t>
            </a:r>
            <a:r>
              <a:rPr lang="fr-FR" altLang="fr-FR" dirty="0"/>
              <a:t> of the </a:t>
            </a:r>
            <a:r>
              <a:rPr lang="fr-FR" altLang="fr-FR" dirty="0" err="1"/>
              <a:t>different</a:t>
            </a:r>
            <a:r>
              <a:rPr lang="fr-FR" altLang="fr-FR" dirty="0"/>
              <a:t> WIT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A custom Hub</a:t>
            </a:r>
            <a:r>
              <a:rPr lang="fr-FR" altLang="fr-FR" dirty="0"/>
              <a:t>: </a:t>
            </a:r>
            <a:r>
              <a:rPr lang="fr-FR" altLang="fr-FR" dirty="0" err="1"/>
              <a:t>adding</a:t>
            </a:r>
            <a:r>
              <a:rPr lang="fr-FR" altLang="fr-FR" dirty="0"/>
              <a:t> a custom </a:t>
            </a:r>
            <a:r>
              <a:rPr lang="fr-FR" altLang="fr-FR" dirty="0" err="1"/>
              <a:t>left</a:t>
            </a:r>
            <a:r>
              <a:rPr lang="fr-FR" altLang="fr-FR" dirty="0"/>
              <a:t> menu and extension </a:t>
            </a:r>
            <a:r>
              <a:rPr lang="fr-FR" altLang="fr-FR" dirty="0" err="1"/>
              <a:t>space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>
                <a:ln>
                  <a:noFill/>
                </a:ln>
                <a:solidFill>
                  <a:srgbClr val="FB8005"/>
                </a:solidFill>
                <a:effectLst/>
              </a:rPr>
              <a:t>Web extensions</a:t>
            </a:r>
            <a:r>
              <a:rPr kumimoji="0" lang="fr-FR" altLang="fr-FR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adding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screens and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eatures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o the platform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Pipeline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rgbClr val="FB8005"/>
                </a:solidFill>
                <a:effectLst/>
              </a:rPr>
              <a:t>decorators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ynamically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injectable pipeline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asks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" name="Straight Connector 27">
            <a:extLst>
              <a:ext uri="{FF2B5EF4-FFF2-40B4-BE49-F238E27FC236}">
                <a16:creationId xmlns:a16="http://schemas.microsoft.com/office/drawing/2014/main" id="{446BB47D-F5E9-4ED3-A3AB-64CEA0693EFF}"/>
              </a:ext>
            </a:extLst>
          </p:cNvPr>
          <p:cNvCxnSpPr/>
          <p:nvPr/>
        </p:nvCxnSpPr>
        <p:spPr>
          <a:xfrm rot="16200000">
            <a:off x="1161667" y="743575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04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Create </a:t>
            </a:r>
            <a:r>
              <a:rPr lang="en-US" sz="3600" b="1" dirty="0">
                <a:solidFill>
                  <a:schemeClr val="tx2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a pipeline decorato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14867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CCF3949-E3E2-4C6A-A7F2-11DE71D5FDDA}"/>
              </a:ext>
            </a:extLst>
          </p:cNvPr>
          <p:cNvSpPr txBox="1"/>
          <p:nvPr/>
        </p:nvSpPr>
        <p:spPr>
          <a:xfrm>
            <a:off x="895113" y="772105"/>
            <a:ext cx="46276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Structur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69E8AA-7AC5-4D92-A872-813344D9482D}"/>
              </a:ext>
            </a:extLst>
          </p:cNvPr>
          <p:cNvSpPr txBox="1"/>
          <p:nvPr/>
        </p:nvSpPr>
        <p:spPr>
          <a:xfrm>
            <a:off x="1564344" y="2895261"/>
            <a:ext cx="3548063" cy="493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ss-extension.json</a:t>
            </a:r>
            <a:endParaRPr lang="en-US" sz="2000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AEF56-A8A1-44BD-90A8-85EE300E7F66}"/>
              </a:ext>
            </a:extLst>
          </p:cNvPr>
          <p:cNvSpPr txBox="1"/>
          <p:nvPr/>
        </p:nvSpPr>
        <p:spPr>
          <a:xfrm>
            <a:off x="1564344" y="2398128"/>
            <a:ext cx="3535691" cy="493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&lt;</a:t>
            </a:r>
            <a:r>
              <a:rPr lang="fr-FR" sz="200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jected</a:t>
            </a:r>
            <a:r>
              <a:rPr lang="fr-FR" sz="2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-file&gt;.</a:t>
            </a:r>
            <a:r>
              <a:rPr lang="fr-FR" sz="200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yml</a:t>
            </a:r>
            <a:endParaRPr lang="en-US" sz="2000" dirty="0">
              <a:solidFill>
                <a:srgbClr val="FB8005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cxnSp>
        <p:nvCxnSpPr>
          <p:cNvPr id="24" name="Straight Connector 5">
            <a:extLst>
              <a:ext uri="{FF2B5EF4-FFF2-40B4-BE49-F238E27FC236}">
                <a16:creationId xmlns:a16="http://schemas.microsoft.com/office/drawing/2014/main" id="{FB4E3537-50D6-4C25-879F-992180456C67}"/>
              </a:ext>
            </a:extLst>
          </p:cNvPr>
          <p:cNvCxnSpPr/>
          <p:nvPr/>
        </p:nvCxnSpPr>
        <p:spPr>
          <a:xfrm>
            <a:off x="1025419" y="1374543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>
            <a:extLst>
              <a:ext uri="{FF2B5EF4-FFF2-40B4-BE49-F238E27FC236}">
                <a16:creationId xmlns:a16="http://schemas.microsoft.com/office/drawing/2014/main" id="{7A7C2A1D-5070-40CC-8B48-D0F15C7A82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475" y="1887138"/>
            <a:ext cx="713149" cy="71314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0FBD1BF-017F-E03C-092E-0AB5F8C6C370}"/>
              </a:ext>
            </a:extLst>
          </p:cNvPr>
          <p:cNvSpPr txBox="1"/>
          <p:nvPr/>
        </p:nvSpPr>
        <p:spPr>
          <a:xfrm>
            <a:off x="1564344" y="3393347"/>
            <a:ext cx="3548063" cy="493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20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verview.md</a:t>
            </a:r>
            <a:endParaRPr lang="en-US" sz="2000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7EE9FA-AD1C-7476-6B86-117B305600A7}"/>
              </a:ext>
            </a:extLst>
          </p:cNvPr>
          <p:cNvSpPr txBox="1"/>
          <p:nvPr/>
        </p:nvSpPr>
        <p:spPr>
          <a:xfrm>
            <a:off x="1564344" y="3911046"/>
            <a:ext cx="3548063" cy="493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&lt;</a:t>
            </a:r>
            <a:r>
              <a:rPr lang="fr-FR" sz="2000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xtension-</a:t>
            </a:r>
            <a:r>
              <a:rPr lang="fr-FR" sz="2000" dirty="0" err="1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con</a:t>
            </a:r>
            <a:r>
              <a:rPr lang="fr-FR" sz="2000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&gt;.png</a:t>
            </a:r>
            <a:endParaRPr lang="en-US" sz="2000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5" name="Left Brace 14">
            <a:extLst>
              <a:ext uri="{FF2B5EF4-FFF2-40B4-BE49-F238E27FC236}">
                <a16:creationId xmlns:a16="http://schemas.microsoft.com/office/drawing/2014/main" id="{25735FC4-724F-D9B7-5EDA-523FAE915058}"/>
              </a:ext>
            </a:extLst>
          </p:cNvPr>
          <p:cNvSpPr/>
          <p:nvPr/>
        </p:nvSpPr>
        <p:spPr>
          <a:xfrm>
            <a:off x="1207769" y="3523114"/>
            <a:ext cx="356575" cy="975258"/>
          </a:xfrm>
          <a:prstGeom prst="leftBrac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98A6087-E927-B698-D387-DA2D39D44B46}"/>
              </a:ext>
            </a:extLst>
          </p:cNvPr>
          <p:cNvSpPr txBox="1"/>
          <p:nvPr/>
        </p:nvSpPr>
        <p:spPr>
          <a:xfrm>
            <a:off x="243466" y="3826077"/>
            <a:ext cx="964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optional</a:t>
            </a:r>
            <a:endParaRPr lang="fr-FR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5325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CCF3949-E3E2-4C6A-A7F2-11DE71D5FDDA}"/>
              </a:ext>
            </a:extLst>
          </p:cNvPr>
          <p:cNvSpPr txBox="1"/>
          <p:nvPr/>
        </p:nvSpPr>
        <p:spPr>
          <a:xfrm>
            <a:off x="895113" y="772105"/>
            <a:ext cx="46276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Internal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endParaRPr lang="en-US" sz="3600" b="1" dirty="0">
              <a:solidFill>
                <a:schemeClr val="accent1"/>
              </a:solidFill>
              <a:latin typeface="Amble" pitchFamily="2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4F4D64-01FC-4189-A7B9-BE2C6D3B1620}"/>
              </a:ext>
            </a:extLst>
          </p:cNvPr>
          <p:cNvSpPr txBox="1"/>
          <p:nvPr/>
        </p:nvSpPr>
        <p:spPr>
          <a:xfrm>
            <a:off x="900545" y="1659028"/>
            <a:ext cx="4054258" cy="789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o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perly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fit in a micro-service architecture,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ach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service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hould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mplement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nd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ake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enefit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of </a:t>
            </a:r>
            <a:r>
              <a:rPr lang="fr-FR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ome</a:t>
            </a:r>
            <a:r>
              <a:rPr lang="fr-FR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relevant design patterns and good practices</a:t>
            </a:r>
            <a:endParaRPr lang="en-US" sz="105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69E8AA-7AC5-4D92-A872-813344D9482D}"/>
              </a:ext>
            </a:extLst>
          </p:cNvPr>
          <p:cNvSpPr txBox="1"/>
          <p:nvPr/>
        </p:nvSpPr>
        <p:spPr>
          <a:xfrm>
            <a:off x="1575697" y="2782610"/>
            <a:ext cx="3548063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QRS 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AEF56-A8A1-44BD-90A8-85EE300E7F66}"/>
              </a:ext>
            </a:extLst>
          </p:cNvPr>
          <p:cNvSpPr txBox="1"/>
          <p:nvPr/>
        </p:nvSpPr>
        <p:spPr>
          <a:xfrm>
            <a:off x="1588069" y="3438215"/>
            <a:ext cx="3535691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DD &amp; Domain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vents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BB18A6A5-5012-4DD7-8983-DA42E24E5C0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20" y="5828515"/>
            <a:ext cx="713149" cy="713149"/>
          </a:xfrm>
          <a:prstGeom prst="rect">
            <a:avLst/>
          </a:prstGeom>
        </p:spPr>
      </p:pic>
      <p:sp>
        <p:nvSpPr>
          <p:cNvPr id="21" name="TextBox 12">
            <a:extLst>
              <a:ext uri="{FF2B5EF4-FFF2-40B4-BE49-F238E27FC236}">
                <a16:creationId xmlns:a16="http://schemas.microsoft.com/office/drawing/2014/main" id="{37239F82-C484-4323-8CC0-DBF8AFD10116}"/>
              </a:ext>
            </a:extLst>
          </p:cNvPr>
          <p:cNvSpPr txBox="1"/>
          <p:nvPr/>
        </p:nvSpPr>
        <p:spPr>
          <a:xfrm>
            <a:off x="1588069" y="4081748"/>
            <a:ext cx="3535691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aga pattern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2" name="TextBox 12">
            <a:extLst>
              <a:ext uri="{FF2B5EF4-FFF2-40B4-BE49-F238E27FC236}">
                <a16:creationId xmlns:a16="http://schemas.microsoft.com/office/drawing/2014/main" id="{97D14F86-BF12-4B2C-834D-3455401A5D8D}"/>
              </a:ext>
            </a:extLst>
          </p:cNvPr>
          <p:cNvSpPr txBox="1"/>
          <p:nvPr/>
        </p:nvSpPr>
        <p:spPr>
          <a:xfrm>
            <a:off x="1588069" y="4733280"/>
            <a:ext cx="3535691" cy="304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pi Composition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Box 12">
            <a:extLst>
              <a:ext uri="{FF2B5EF4-FFF2-40B4-BE49-F238E27FC236}">
                <a16:creationId xmlns:a16="http://schemas.microsoft.com/office/drawing/2014/main" id="{E593BE12-54CF-487B-B293-494F6E5D1B73}"/>
              </a:ext>
            </a:extLst>
          </p:cNvPr>
          <p:cNvSpPr txBox="1"/>
          <p:nvPr/>
        </p:nvSpPr>
        <p:spPr>
          <a:xfrm>
            <a:off x="1588069" y="5209984"/>
            <a:ext cx="3535691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sage of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ven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framework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like .Net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ore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for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asy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pency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injection.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cxnSp>
        <p:nvCxnSpPr>
          <p:cNvPr id="24" name="Straight Connector 5">
            <a:extLst>
              <a:ext uri="{FF2B5EF4-FFF2-40B4-BE49-F238E27FC236}">
                <a16:creationId xmlns:a16="http://schemas.microsoft.com/office/drawing/2014/main" id="{FB4E3537-50D6-4C25-879F-992180456C67}"/>
              </a:ext>
            </a:extLst>
          </p:cNvPr>
          <p:cNvCxnSpPr/>
          <p:nvPr/>
        </p:nvCxnSpPr>
        <p:spPr>
          <a:xfrm>
            <a:off x="1025419" y="1374543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95FC0B-12A9-43C0-9599-55A5BF90F2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1E19A4D3-099A-4D82-A016-0BF4C4E9BD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25" name="TextBox 12">
            <a:extLst>
              <a:ext uri="{FF2B5EF4-FFF2-40B4-BE49-F238E27FC236}">
                <a16:creationId xmlns:a16="http://schemas.microsoft.com/office/drawing/2014/main" id="{46B06814-98CF-41A5-B1E9-0C775180A865}"/>
              </a:ext>
            </a:extLst>
          </p:cNvPr>
          <p:cNvSpPr txBox="1"/>
          <p:nvPr/>
        </p:nvSpPr>
        <p:spPr>
          <a:xfrm>
            <a:off x="1607541" y="5851325"/>
            <a:ext cx="3535691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sage of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framework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to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nify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architecture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ccross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all components (i.e. </a:t>
            </a:r>
            <a:r>
              <a:rPr lang="fr-FR" sz="1050" dirty="0" err="1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apr</a:t>
            </a:r>
            <a:r>
              <a:rPr lang="fr-FR" sz="105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)</a:t>
            </a:r>
            <a:endParaRPr lang="en-US" sz="105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3C4CD56-B330-46E6-BC39-CC89FFD020F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071" y="2682199"/>
            <a:ext cx="600470" cy="60047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C350F59-C4F1-46DF-BE52-1B4F349BD7B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559" y="3277093"/>
            <a:ext cx="626813" cy="62681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A90077E-A04B-4633-9A97-1E900AF5B5C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559" y="3903906"/>
            <a:ext cx="626813" cy="62681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03C099B-0CC5-45DB-9F84-5AA887D38F3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335" y="4565453"/>
            <a:ext cx="687982" cy="6879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5ED8A94-3C22-448C-9087-8B2C41471B0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884" y="5187986"/>
            <a:ext cx="626813" cy="62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392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5F1FBDC-5EA2-4646-8BE1-792097C72278}"/>
              </a:ext>
            </a:extLst>
          </p:cNvPr>
          <p:cNvSpPr txBox="1"/>
          <p:nvPr/>
        </p:nvSpPr>
        <p:spPr>
          <a:xfrm>
            <a:off x="1867949" y="3592774"/>
            <a:ext cx="84561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206750" algn="l"/>
              </a:tabLst>
              <a:defRPr/>
            </a:pPr>
            <a:r>
              <a:rPr lang="en-US" sz="3600" b="1" dirty="0">
                <a:solidFill>
                  <a:schemeClr val="accent1"/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Pre</a:t>
            </a:r>
            <a:r>
              <a:rPr lang="en-US" sz="36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mble" pitchFamily="2" charset="0"/>
                <a:ea typeface="Lato" panose="020F0502020204030203" pitchFamily="34" charset="0"/>
                <a:cs typeface="Lato" panose="020F0502020204030203" pitchFamily="34" charset="0"/>
              </a:rPr>
              <a:t>requisit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B0B1878-7BDA-4146-80A7-44769410D13E}"/>
              </a:ext>
            </a:extLst>
          </p:cNvPr>
          <p:cNvCxnSpPr/>
          <p:nvPr/>
        </p:nvCxnSpPr>
        <p:spPr>
          <a:xfrm>
            <a:off x="5672920" y="4394579"/>
            <a:ext cx="84616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30807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030C5B6E-322F-4175-875C-3546241B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>
                <a:solidFill>
                  <a:srgbClr val="FB8005"/>
                </a:solidFill>
              </a:rPr>
              <a:t>What</a:t>
            </a:r>
            <a:r>
              <a:rPr lang="fr-FR" dirty="0"/>
              <a:t> do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need</a:t>
            </a:r>
            <a:r>
              <a:rPr lang="fr-FR" dirty="0"/>
              <a:t> to </a:t>
            </a:r>
            <a:r>
              <a:rPr lang="fr-FR" dirty="0" err="1"/>
              <a:t>build</a:t>
            </a:r>
            <a:r>
              <a:rPr lang="fr-FR" dirty="0"/>
              <a:t> Pipeline </a:t>
            </a:r>
            <a:r>
              <a:rPr lang="fr-FR" dirty="0" err="1"/>
              <a:t>decorators</a:t>
            </a:r>
            <a:endParaRPr lang="fr-FR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0B4C3F29-4B45-4FFD-98DF-428EF7D7F138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30000" y="2142921"/>
            <a:ext cx="10663280" cy="3083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An Azure DevOps </a:t>
            </a:r>
            <a:r>
              <a:rPr lang="fr-FR" altLang="fr-FR" dirty="0" err="1">
                <a:solidFill>
                  <a:srgbClr val="FB8005"/>
                </a:solidFill>
              </a:rPr>
              <a:t>org</a:t>
            </a:r>
            <a:r>
              <a:rPr lang="fr-FR" altLang="fr-FR" dirty="0"/>
              <a:t> </a:t>
            </a:r>
            <a:r>
              <a:rPr lang="fr-FR" altLang="fr-FR" dirty="0" err="1"/>
              <a:t>with</a:t>
            </a:r>
            <a:r>
              <a:rPr lang="fr-FR" altLang="fr-FR" dirty="0"/>
              <a:t> admin </a:t>
            </a:r>
            <a:r>
              <a:rPr lang="fr-FR" altLang="fr-FR" dirty="0" err="1"/>
              <a:t>rights</a:t>
            </a:r>
            <a:endParaRPr lang="fr-FR" altLang="fr-FR" dirty="0"/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A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rgbClr val="FB8005"/>
                </a:solidFill>
                <a:effectLst/>
              </a:rPr>
              <a:t>publisher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rgbClr val="FB8005"/>
                </a:solidFill>
                <a:effectLst/>
              </a:rPr>
              <a:t>account</a:t>
            </a: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n the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Azure DevOps marketplace (</a:t>
            </a:r>
            <a:r>
              <a:rPr kumimoji="0" lang="fr-FR" altLang="fr-FR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</a:rPr>
              <a:t>it’s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free and fast)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>
                <a:solidFill>
                  <a:srgbClr val="FB8005"/>
                </a:solidFill>
              </a:rPr>
              <a:t>TFX </a:t>
            </a:r>
            <a:r>
              <a:rPr lang="fr-FR" altLang="fr-FR" dirty="0" err="1">
                <a:solidFill>
                  <a:srgbClr val="FB8005"/>
                </a:solidFill>
              </a:rPr>
              <a:t>Cli</a:t>
            </a:r>
            <a:r>
              <a:rPr lang="fr-FR" altLang="fr-FR" dirty="0"/>
              <a:t> a NPM module to </a:t>
            </a:r>
            <a:r>
              <a:rPr lang="fr-FR" altLang="fr-FR" dirty="0" err="1"/>
              <a:t>build</a:t>
            </a:r>
            <a:r>
              <a:rPr lang="fr-FR" altLang="fr-FR" dirty="0"/>
              <a:t> and package extensions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fr-FR" dirty="0" err="1">
                <a:solidFill>
                  <a:srgbClr val="FB8005"/>
                </a:solidFill>
              </a:rPr>
              <a:t>Any</a:t>
            </a:r>
            <a:r>
              <a:rPr lang="fr-FR" altLang="fr-FR" dirty="0">
                <a:solidFill>
                  <a:srgbClr val="FB8005"/>
                </a:solidFill>
              </a:rPr>
              <a:t> </a:t>
            </a:r>
            <a:r>
              <a:rPr lang="fr-FR" altLang="fr-FR" dirty="0" err="1">
                <a:solidFill>
                  <a:srgbClr val="FB8005"/>
                </a:solidFill>
              </a:rPr>
              <a:t>text</a:t>
            </a:r>
            <a:r>
              <a:rPr lang="fr-FR" altLang="fr-FR" dirty="0">
                <a:solidFill>
                  <a:srgbClr val="FB8005"/>
                </a:solidFill>
              </a:rPr>
              <a:t> editor </a:t>
            </a:r>
          </a:p>
          <a:p>
            <a:pPr eaLnBrk="0" fontAlgn="base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fr-FR" altLang="fr-FR" b="0" i="0" u="none" strike="noStrike" cap="none" normalizeH="0" baseline="0" dirty="0">
                <a:ln>
                  <a:noFill/>
                </a:ln>
                <a:solidFill>
                  <a:srgbClr val="FB8005"/>
                </a:solidFill>
                <a:effectLst/>
              </a:rPr>
              <a:t>A </a:t>
            </a:r>
            <a:r>
              <a:rPr kumimoji="0" lang="fr-FR" altLang="fr-FR" b="0" i="0" u="none" strike="noStrike" cap="none" normalizeH="0" baseline="0" dirty="0" err="1">
                <a:ln>
                  <a:noFill/>
                </a:ln>
                <a:solidFill>
                  <a:srgbClr val="FB8005"/>
                </a:solidFill>
                <a:effectLst/>
              </a:rPr>
              <a:t>brain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</a:rPr>
              <a:t>you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can </a:t>
            </a:r>
            <a:r>
              <a:rPr kumimoji="0" lang="fr-FR" altLang="fr-FR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</a:rPr>
              <a:t>find</a:t>
            </a:r>
            <a:r>
              <a:rPr kumimoji="0" lang="fr-FR" altLang="fr-FR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</a:rPr>
              <a:t> one for cheap on </a:t>
            </a:r>
            <a:r>
              <a:rPr kumimoji="0" lang="fr-FR" altLang="fr-FR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</a:rPr>
              <a:t>AliExpress</a:t>
            </a:r>
            <a:endParaRPr kumimoji="0" lang="fr-FR" alt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" name="Straight Connector 27">
            <a:extLst>
              <a:ext uri="{FF2B5EF4-FFF2-40B4-BE49-F238E27FC236}">
                <a16:creationId xmlns:a16="http://schemas.microsoft.com/office/drawing/2014/main" id="{446BB47D-F5E9-4ED3-A3AB-64CEA0693EFF}"/>
              </a:ext>
            </a:extLst>
          </p:cNvPr>
          <p:cNvCxnSpPr/>
          <p:nvPr/>
        </p:nvCxnSpPr>
        <p:spPr>
          <a:xfrm rot="16200000">
            <a:off x="1161667" y="743575"/>
            <a:ext cx="0" cy="87085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974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[WF] Flat Gold 02">
      <a:dk1>
        <a:srgbClr val="323232"/>
      </a:dk1>
      <a:lt1>
        <a:srgbClr val="F7F7F7"/>
      </a:lt1>
      <a:dk2>
        <a:srgbClr val="323232"/>
      </a:dk2>
      <a:lt2>
        <a:srgbClr val="F7F7F7"/>
      </a:lt2>
      <a:accent1>
        <a:srgbClr val="FFC000"/>
      </a:accent1>
      <a:accent2>
        <a:srgbClr val="FFC000"/>
      </a:accent2>
      <a:accent3>
        <a:srgbClr val="FFC000"/>
      </a:accent3>
      <a:accent4>
        <a:srgbClr val="FFC000"/>
      </a:accent4>
      <a:accent5>
        <a:srgbClr val="FFC000"/>
      </a:accent5>
      <a:accent6>
        <a:srgbClr val="FFC000"/>
      </a:accent6>
      <a:hlink>
        <a:srgbClr val="FFFFFF"/>
      </a:hlink>
      <a:folHlink>
        <a:srgbClr val="FFFF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81</TotalTime>
  <Words>706</Words>
  <Application>Microsoft Office PowerPoint</Application>
  <PresentationFormat>Widescreen</PresentationFormat>
  <Paragraphs>147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mble</vt:lpstr>
      <vt:lpstr>Arial</vt:lpstr>
      <vt:lpstr>Calibri</vt:lpstr>
      <vt:lpstr>Calibri Light</vt:lpstr>
      <vt:lpstr>Consolas</vt:lpstr>
      <vt:lpstr>Lato</vt:lpstr>
      <vt:lpstr>Lato Light</vt:lpstr>
      <vt:lpstr>Segoe UI</vt:lpstr>
      <vt:lpstr>Segoe UI Semibold</vt:lpstr>
      <vt:lpstr>Office Theme</vt:lpstr>
      <vt:lpstr>think-cell Slide</vt:lpstr>
      <vt:lpstr>PowerPoint Presentation</vt:lpstr>
      <vt:lpstr>PowerPoint Presentation</vt:lpstr>
      <vt:lpstr>PowerPoint Presentation</vt:lpstr>
      <vt:lpstr>Azure DevOps can be extended with</vt:lpstr>
      <vt:lpstr>PowerPoint Presentation</vt:lpstr>
      <vt:lpstr>PowerPoint Presentation</vt:lpstr>
      <vt:lpstr>PowerPoint Presentation</vt:lpstr>
      <vt:lpstr>PowerPoint Presentation</vt:lpstr>
      <vt:lpstr>What do you need to build Pipeline decorators</vt:lpstr>
      <vt:lpstr>PowerPoint Presentation</vt:lpstr>
      <vt:lpstr>Application focused</vt:lpstr>
      <vt:lpstr>PowerPoint Presentation</vt:lpstr>
      <vt:lpstr>PowerPoint Presentation</vt:lpstr>
      <vt:lpstr>PowerPoint Presentation</vt:lpstr>
      <vt:lpstr>Skip injection with a variable</vt:lpstr>
      <vt:lpstr>Filter by project</vt:lpstr>
      <vt:lpstr>Filter by runner operating system (for compatibility) </vt:lpstr>
      <vt:lpstr>Do not inject if a task is already present</vt:lpstr>
      <vt:lpstr>PowerPoint Presentation</vt:lpstr>
    </vt:vector>
  </TitlesOfParts>
  <Company>LGMOR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evOps - pipeline decorators by Louis-Guillaume MORAND</dc:title>
  <dc:subject>Azure DevOps - pipeline decorators by Louis-Guillaume MORAND</dc:subject>
  <dc:creator>Louis-Guillaume Morand</dc:creator>
  <cp:keywords>Azure DevOps</cp:keywords>
  <cp:lastModifiedBy>Louis-Guillaume Morand</cp:lastModifiedBy>
  <cp:revision>9</cp:revision>
  <dcterms:created xsi:type="dcterms:W3CDTF">2019-11-19T09:48:03Z</dcterms:created>
  <dcterms:modified xsi:type="dcterms:W3CDTF">2023-01-04T17:44:21Z</dcterms:modified>
  <cp:contentStatus>Final</cp:contentStatus>
</cp:coreProperties>
</file>